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mp" ContentType="image/png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sldIdLst>
    <p:sldId id="256" r:id="rId5"/>
    <p:sldId id="257" r:id="rId6"/>
    <p:sldId id="265" r:id="rId7"/>
    <p:sldId id="266" r:id="rId8"/>
    <p:sldId id="261" r:id="rId9"/>
    <p:sldId id="262" r:id="rId10"/>
    <p:sldId id="258" r:id="rId11"/>
    <p:sldId id="263" r:id="rId12"/>
    <p:sldId id="259" r:id="rId13"/>
    <p:sldId id="264" r:id="rId14"/>
  </p:sldIdLst>
  <p:sldSz cx="12192000" cy="6858000"/>
  <p:notesSz cx="6858000" cy="9144000"/>
  <p:custDataLst>
    <p:tags r:id="rId1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A6A3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025EA0B-FDF1-4C78-8FA2-73C50A458F24}" v="210" dt="2020-11-01T22:15:44.027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05" autoAdjust="0"/>
    <p:restoredTop sz="94660"/>
  </p:normalViewPr>
  <p:slideViewPr>
    <p:cSldViewPr snapToGrid="0">
      <p:cViewPr varScale="1">
        <p:scale>
          <a:sx n="101" d="100"/>
          <a:sy n="101" d="100"/>
        </p:scale>
        <p:origin x="120" y="3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ihandform: Form 9">
            <a:extLst>
              <a:ext uri="{FF2B5EF4-FFF2-40B4-BE49-F238E27FC236}">
                <a16:creationId xmlns:a16="http://schemas.microsoft.com/office/drawing/2014/main" id="{C309AC5E-331E-47C5-B74D-DBE8E9CD79C0}"/>
              </a:ext>
            </a:extLst>
          </p:cNvPr>
          <p:cNvSpPr>
            <a:spLocks/>
          </p:cNvSpPr>
          <p:nvPr/>
        </p:nvSpPr>
        <p:spPr bwMode="gray">
          <a:xfrm>
            <a:off x="0" y="0"/>
            <a:ext cx="6618313" cy="6858000"/>
          </a:xfrm>
          <a:custGeom>
            <a:avLst/>
            <a:gdLst>
              <a:gd name="connsiteX0" fmla="*/ 4780205 w 6618313"/>
              <a:gd name="connsiteY0" fmla="*/ 0 h 6858000"/>
              <a:gd name="connsiteX1" fmla="*/ 6618313 w 6618313"/>
              <a:gd name="connsiteY1" fmla="*/ 0 h 6858000"/>
              <a:gd name="connsiteX2" fmla="*/ 4229619 w 6618313"/>
              <a:gd name="connsiteY2" fmla="*/ 6509169 h 6858000"/>
              <a:gd name="connsiteX3" fmla="*/ 4066561 w 6618313"/>
              <a:gd name="connsiteY3" fmla="*/ 6858000 h 6858000"/>
              <a:gd name="connsiteX4" fmla="*/ 308462 w 6618313"/>
              <a:gd name="connsiteY4" fmla="*/ 6858000 h 6858000"/>
              <a:gd name="connsiteX5" fmla="*/ 143992 w 6618313"/>
              <a:gd name="connsiteY5" fmla="*/ 6504932 h 6858000"/>
              <a:gd name="connsiteX6" fmla="*/ 32492 w 6618313"/>
              <a:gd name="connsiteY6" fmla="*/ 6199617 h 6858000"/>
              <a:gd name="connsiteX7" fmla="*/ 0 w 6618313"/>
              <a:gd name="connsiteY7" fmla="*/ 6110647 h 6858000"/>
              <a:gd name="connsiteX8" fmla="*/ 0 w 6618313"/>
              <a:gd name="connsiteY8" fmla="*/ 1076066 h 6858000"/>
              <a:gd name="connsiteX9" fmla="*/ 57021 w 6618313"/>
              <a:gd name="connsiteY9" fmla="*/ 1232363 h 6858000"/>
              <a:gd name="connsiteX10" fmla="*/ 1764690 w 6618313"/>
              <a:gd name="connsiteY10" fmla="*/ 5913189 h 6858000"/>
              <a:gd name="connsiteX11" fmla="*/ 2186806 w 6618313"/>
              <a:gd name="connsiteY11" fmla="*/ 6209061 h 6858000"/>
              <a:gd name="connsiteX12" fmla="*/ 2187511 w 6618313"/>
              <a:gd name="connsiteY12" fmla="*/ 6209061 h 6858000"/>
              <a:gd name="connsiteX13" fmla="*/ 2609627 w 6618313"/>
              <a:gd name="connsiteY13" fmla="*/ 5913895 h 6858000"/>
              <a:gd name="connsiteX14" fmla="*/ 4780205 w 6618313"/>
              <a:gd name="connsiteY1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618313" h="6858000">
                <a:moveTo>
                  <a:pt x="4780205" y="0"/>
                </a:moveTo>
                <a:lnTo>
                  <a:pt x="6618313" y="0"/>
                </a:lnTo>
                <a:cubicBezTo>
                  <a:pt x="6618313" y="0"/>
                  <a:pt x="6618313" y="0"/>
                  <a:pt x="4229619" y="6509169"/>
                </a:cubicBezTo>
                <a:cubicBezTo>
                  <a:pt x="4184443" y="6632036"/>
                  <a:pt x="4129384" y="6748549"/>
                  <a:pt x="4066561" y="6858000"/>
                </a:cubicBezTo>
                <a:cubicBezTo>
                  <a:pt x="4066561" y="6858000"/>
                  <a:pt x="4066561" y="6858000"/>
                  <a:pt x="308462" y="6858000"/>
                </a:cubicBezTo>
                <a:cubicBezTo>
                  <a:pt x="244227" y="6747137"/>
                  <a:pt x="189168" y="6629212"/>
                  <a:pt x="143992" y="6504932"/>
                </a:cubicBezTo>
                <a:cubicBezTo>
                  <a:pt x="143992" y="6504932"/>
                  <a:pt x="143992" y="6504932"/>
                  <a:pt x="32492" y="6199617"/>
                </a:cubicBezTo>
                <a:lnTo>
                  <a:pt x="0" y="6110647"/>
                </a:lnTo>
                <a:lnTo>
                  <a:pt x="0" y="1076066"/>
                </a:lnTo>
                <a:lnTo>
                  <a:pt x="57021" y="1232363"/>
                </a:lnTo>
                <a:cubicBezTo>
                  <a:pt x="344591" y="2020610"/>
                  <a:pt x="855827" y="3421939"/>
                  <a:pt x="1764690" y="5913189"/>
                </a:cubicBezTo>
                <a:cubicBezTo>
                  <a:pt x="1862101" y="6180109"/>
                  <a:pt x="2092218" y="6209061"/>
                  <a:pt x="2186806" y="6209061"/>
                </a:cubicBezTo>
                <a:cubicBezTo>
                  <a:pt x="2186806" y="6209061"/>
                  <a:pt x="2186806" y="6209061"/>
                  <a:pt x="2187511" y="6209061"/>
                </a:cubicBezTo>
                <a:cubicBezTo>
                  <a:pt x="2282099" y="6209061"/>
                  <a:pt x="2512216" y="6180109"/>
                  <a:pt x="2609627" y="5913895"/>
                </a:cubicBezTo>
                <a:cubicBezTo>
                  <a:pt x="2609627" y="5913895"/>
                  <a:pt x="2609627" y="5913895"/>
                  <a:pt x="4780205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F10EEC-7180-40B0-99AD-49EBF1D70253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1847850" y="1600200"/>
            <a:ext cx="9972676" cy="1756792"/>
          </a:xfrm>
        </p:spPr>
        <p:txBody>
          <a:bodyPr anchor="b"/>
          <a:lstStyle>
            <a:lvl1pPr algn="l">
              <a:lnSpc>
                <a:spcPts val="5000"/>
              </a:lnSpc>
              <a:spcBef>
                <a:spcPts val="0"/>
              </a:spcBef>
              <a:spcAft>
                <a:spcPts val="0"/>
              </a:spcAft>
              <a:defRPr sz="5000"/>
            </a:lvl1pPr>
          </a:lstStyle>
          <a:p>
            <a:r>
              <a:rPr lang="fr-FR"/>
              <a:t>Modifiez le style du titre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BA366ED8-AB52-4EC1-B9BB-6625AECB2954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1847849" y="3465004"/>
            <a:ext cx="9972675" cy="792088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600" cap="all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AB05EF9-52FC-4156-ACA1-536839172EF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1847849" y="4330339"/>
            <a:ext cx="9972675" cy="17989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981953F5-23B4-442B-BCAB-3CFACF9EB4B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712835" y="341919"/>
            <a:ext cx="2107801" cy="7438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509075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7027BD71-4399-4B10-B541-DEE01F2E59A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/>
          <a:p>
            <a:fld id="{6959F301-7672-4363-99AB-0BB08F5899C3}" type="slidenum">
              <a:rPr lang="fr-FR" smtClean="0"/>
              <a:t>‹N°›</a:t>
            </a:fld>
            <a:endParaRPr lang="fr-FR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071F8E7-6C99-42F7-A33B-A1164F4652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/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892016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ihandform: Form 4">
            <a:extLst>
              <a:ext uri="{FF2B5EF4-FFF2-40B4-BE49-F238E27FC236}">
                <a16:creationId xmlns:a16="http://schemas.microsoft.com/office/drawing/2014/main" id="{9BA8FB27-B372-40DA-B6AA-742C42B42170}"/>
              </a:ext>
            </a:extLst>
          </p:cNvPr>
          <p:cNvSpPr>
            <a:spLocks/>
          </p:cNvSpPr>
          <p:nvPr/>
        </p:nvSpPr>
        <p:spPr bwMode="gray">
          <a:xfrm>
            <a:off x="0" y="0"/>
            <a:ext cx="6618313" cy="6858000"/>
          </a:xfrm>
          <a:custGeom>
            <a:avLst/>
            <a:gdLst>
              <a:gd name="connsiteX0" fmla="*/ 4780205 w 6618313"/>
              <a:gd name="connsiteY0" fmla="*/ 0 h 6858000"/>
              <a:gd name="connsiteX1" fmla="*/ 6618313 w 6618313"/>
              <a:gd name="connsiteY1" fmla="*/ 0 h 6858000"/>
              <a:gd name="connsiteX2" fmla="*/ 4229619 w 6618313"/>
              <a:gd name="connsiteY2" fmla="*/ 6509169 h 6858000"/>
              <a:gd name="connsiteX3" fmla="*/ 4066561 w 6618313"/>
              <a:gd name="connsiteY3" fmla="*/ 6858000 h 6858000"/>
              <a:gd name="connsiteX4" fmla="*/ 308462 w 6618313"/>
              <a:gd name="connsiteY4" fmla="*/ 6858000 h 6858000"/>
              <a:gd name="connsiteX5" fmla="*/ 143992 w 6618313"/>
              <a:gd name="connsiteY5" fmla="*/ 6504932 h 6858000"/>
              <a:gd name="connsiteX6" fmla="*/ 32492 w 6618313"/>
              <a:gd name="connsiteY6" fmla="*/ 6199617 h 6858000"/>
              <a:gd name="connsiteX7" fmla="*/ 0 w 6618313"/>
              <a:gd name="connsiteY7" fmla="*/ 6110647 h 6858000"/>
              <a:gd name="connsiteX8" fmla="*/ 0 w 6618313"/>
              <a:gd name="connsiteY8" fmla="*/ 1076066 h 6858000"/>
              <a:gd name="connsiteX9" fmla="*/ 57021 w 6618313"/>
              <a:gd name="connsiteY9" fmla="*/ 1232363 h 6858000"/>
              <a:gd name="connsiteX10" fmla="*/ 1764690 w 6618313"/>
              <a:gd name="connsiteY10" fmla="*/ 5913189 h 6858000"/>
              <a:gd name="connsiteX11" fmla="*/ 2186806 w 6618313"/>
              <a:gd name="connsiteY11" fmla="*/ 6209061 h 6858000"/>
              <a:gd name="connsiteX12" fmla="*/ 2187511 w 6618313"/>
              <a:gd name="connsiteY12" fmla="*/ 6209061 h 6858000"/>
              <a:gd name="connsiteX13" fmla="*/ 2609627 w 6618313"/>
              <a:gd name="connsiteY13" fmla="*/ 5913895 h 6858000"/>
              <a:gd name="connsiteX14" fmla="*/ 4780205 w 6618313"/>
              <a:gd name="connsiteY1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618313" h="6858000">
                <a:moveTo>
                  <a:pt x="4780205" y="0"/>
                </a:moveTo>
                <a:lnTo>
                  <a:pt x="6618313" y="0"/>
                </a:lnTo>
                <a:cubicBezTo>
                  <a:pt x="6618313" y="0"/>
                  <a:pt x="6618313" y="0"/>
                  <a:pt x="4229619" y="6509169"/>
                </a:cubicBezTo>
                <a:cubicBezTo>
                  <a:pt x="4184443" y="6632036"/>
                  <a:pt x="4129384" y="6748549"/>
                  <a:pt x="4066561" y="6858000"/>
                </a:cubicBezTo>
                <a:cubicBezTo>
                  <a:pt x="4066561" y="6858000"/>
                  <a:pt x="4066561" y="6858000"/>
                  <a:pt x="308462" y="6858000"/>
                </a:cubicBezTo>
                <a:cubicBezTo>
                  <a:pt x="244227" y="6747137"/>
                  <a:pt x="189168" y="6629212"/>
                  <a:pt x="143992" y="6504932"/>
                </a:cubicBezTo>
                <a:cubicBezTo>
                  <a:pt x="143992" y="6504932"/>
                  <a:pt x="143992" y="6504932"/>
                  <a:pt x="32492" y="6199617"/>
                </a:cubicBezTo>
                <a:lnTo>
                  <a:pt x="0" y="6110647"/>
                </a:lnTo>
                <a:lnTo>
                  <a:pt x="0" y="1076066"/>
                </a:lnTo>
                <a:lnTo>
                  <a:pt x="57021" y="1232363"/>
                </a:lnTo>
                <a:cubicBezTo>
                  <a:pt x="344591" y="2020610"/>
                  <a:pt x="855827" y="3421939"/>
                  <a:pt x="1764690" y="5913189"/>
                </a:cubicBezTo>
                <a:cubicBezTo>
                  <a:pt x="1862101" y="6180109"/>
                  <a:pt x="2092218" y="6209061"/>
                  <a:pt x="2186806" y="6209061"/>
                </a:cubicBezTo>
                <a:cubicBezTo>
                  <a:pt x="2186806" y="6209061"/>
                  <a:pt x="2186806" y="6209061"/>
                  <a:pt x="2187511" y="6209061"/>
                </a:cubicBezTo>
                <a:cubicBezTo>
                  <a:pt x="2282099" y="6209061"/>
                  <a:pt x="2512216" y="6180109"/>
                  <a:pt x="2609627" y="5913895"/>
                </a:cubicBezTo>
                <a:cubicBezTo>
                  <a:pt x="2609627" y="5913895"/>
                  <a:pt x="2609627" y="5913895"/>
                  <a:pt x="4780205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981953F5-23B4-442B-BCAB-3CFACF9EB4B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712835" y="341919"/>
            <a:ext cx="2107801" cy="743854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BBF10EEC-7180-40B0-99AD-49EBF1D70253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1847849" y="2672916"/>
            <a:ext cx="9972676" cy="1756792"/>
          </a:xfrm>
        </p:spPr>
        <p:txBody>
          <a:bodyPr anchor="ctr"/>
          <a:lstStyle>
            <a:lvl1pPr algn="l">
              <a:lnSpc>
                <a:spcPts val="5000"/>
              </a:lnSpc>
              <a:defRPr sz="5800"/>
            </a:lvl1pPr>
          </a:lstStyle>
          <a:p>
            <a:r>
              <a:rPr lang="fr-FR"/>
              <a:t>Modifiez le style du titre</a:t>
            </a:r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1038164-F6D3-4587-A969-E96281877C0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462907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8471685-7D27-41C2-BB27-E58202061E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CB13D563-06B7-404F-BB11-30D509A8661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8FF592FA-5F66-4F8A-BADA-B1572752FA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F8DFAC-312D-433E-A2AB-7A5857F64398}" type="datetimeFigureOut">
              <a:rPr lang="fr-FR" smtClean="0"/>
              <a:t>01/11/2020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E27D9096-B659-4275-9F54-8D360F2B63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CEB7923B-8748-4F11-8E23-E2C6C52382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59F301-7672-4363-99AB-0BB08F5899C3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151437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lead">
    <p:bg bwMode="gray"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57F30281-A66C-49CD-BC67-805AF8185F1A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71475" y="393228"/>
            <a:ext cx="11449050" cy="983544"/>
          </a:xfrm>
        </p:spPr>
        <p:txBody>
          <a:bodyPr/>
          <a:lstStyle>
            <a:lvl1pPr>
              <a:lnSpc>
                <a:spcPts val="3800"/>
              </a:lnSpc>
              <a:defRPr sz="3800"/>
            </a:lvl1pPr>
          </a:lstStyle>
          <a:p>
            <a:r>
              <a:rPr lang="fr-FR" noProof="0"/>
              <a:t>Modifiez le style du titre</a:t>
            </a:r>
            <a:endParaRPr lang="de-DE" noProof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C3BF31D-6648-425A-8115-2703ABA5A4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371474" y="1420396"/>
            <a:ext cx="11449051" cy="676456"/>
          </a:xfrm>
        </p:spPr>
        <p:txBody>
          <a:bodyPr/>
          <a:lstStyle>
            <a:lvl1pPr marL="0" indent="0">
              <a:buNone/>
              <a:defRPr sz="1900" cap="all" spc="8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/>
              <a:t>Cliquez pour modifier les styles du texte du masque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65483044-202F-42BE-B623-A05A7143C4E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fld id="{6959F301-7672-4363-99AB-0BB08F5899C3}" type="slidenum">
              <a:rPr lang="fr-FR" smtClean="0"/>
              <a:t>‹N°›</a:t>
            </a:fld>
            <a:endParaRPr lang="fr-FR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AF49845-489A-4610-8F7A-332E15A8221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030166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L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CC325EB-BE14-422D-A6DB-EC36DD50623F}"/>
              </a:ext>
            </a:extLst>
          </p:cNvPr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F3B27D5-EA0E-4516-B95F-89731B3E782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365" y="772324"/>
            <a:ext cx="11449160" cy="280412"/>
          </a:xfrm>
        </p:spPr>
        <p:txBody>
          <a:bodyPr/>
          <a:lstStyle>
            <a:lvl1pPr marL="0" indent="0">
              <a:buNone/>
              <a:defRPr sz="1600" cap="all" spc="8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A17F5985-A924-467A-A0A4-F51B07D2BD9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317AF036-266E-40BE-B0E0-C9289E59DA3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fld id="{6959F301-7672-4363-99AB-0BB08F5899C3}" type="slidenum">
              <a:rPr lang="fr-FR" smtClean="0"/>
              <a:t>‹N°›</a:t>
            </a:fld>
            <a:endParaRPr lang="fr-FR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7C1C86E-090F-4145-8295-6AC6218E61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5376271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L and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CC325EB-BE14-422D-A6DB-EC36DD50623F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371476" y="1592263"/>
            <a:ext cx="5545138" cy="4537075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F3B27D5-EA0E-4516-B95F-89731B3E782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5" y="772324"/>
            <a:ext cx="11449050" cy="280412"/>
          </a:xfrm>
        </p:spPr>
        <p:txBody>
          <a:bodyPr/>
          <a:lstStyle>
            <a:lvl1pPr marL="0" indent="0">
              <a:buNone/>
              <a:defRPr sz="1600" cap="all" spc="8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A17F5985-A924-467A-A0A4-F51B07D2BD9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BC8604F5-DBA2-40D0-9476-4D86666A5A24}"/>
              </a:ext>
            </a:extLst>
          </p:cNvPr>
          <p:cNvSpPr>
            <a:spLocks noGrp="1"/>
          </p:cNvSpPr>
          <p:nvPr>
            <p:ph idx="16"/>
          </p:nvPr>
        </p:nvSpPr>
        <p:spPr bwMode="gray">
          <a:xfrm>
            <a:off x="6275387" y="1592263"/>
            <a:ext cx="5545137" cy="4537075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de-DE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06ACC231-D213-4B79-9786-576D7699694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6959F301-7672-4363-99AB-0BB08F5899C3}" type="slidenum">
              <a:rPr lang="fr-FR" smtClean="0"/>
              <a:t>‹N°›</a:t>
            </a:fld>
            <a:endParaRPr lang="fr-FR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43D5C47-19C8-4937-851E-9849C4C289D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594136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L and 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CC325EB-BE14-422D-A6DB-EC36DD50623F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371476" y="1592263"/>
            <a:ext cx="3563937" cy="4537075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F3B27D5-EA0E-4516-B95F-89731B3E782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5" y="772324"/>
            <a:ext cx="11449050" cy="280412"/>
          </a:xfrm>
        </p:spPr>
        <p:txBody>
          <a:bodyPr/>
          <a:lstStyle>
            <a:lvl1pPr marL="0" indent="0">
              <a:buNone/>
              <a:defRPr sz="1600" cap="all" spc="8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A17F5985-A924-467A-A0A4-F51B07D2BD9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BC8604F5-DBA2-40D0-9476-4D86666A5A24}"/>
              </a:ext>
            </a:extLst>
          </p:cNvPr>
          <p:cNvSpPr>
            <a:spLocks noGrp="1"/>
          </p:cNvSpPr>
          <p:nvPr>
            <p:ph idx="16"/>
          </p:nvPr>
        </p:nvSpPr>
        <p:spPr bwMode="gray">
          <a:xfrm>
            <a:off x="4295775" y="1592263"/>
            <a:ext cx="3600450" cy="4537075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de-DE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06ACC231-D213-4B79-9786-576D7699694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6959F301-7672-4363-99AB-0BB08F5899C3}" type="slidenum">
              <a:rPr lang="fr-FR" smtClean="0"/>
              <a:t>‹N°›</a:t>
            </a:fld>
            <a:endParaRPr lang="fr-FR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43D5C47-19C8-4937-851E-9849C4C289D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83DD1BA8-04B4-476C-AAC7-0F9177B68237}"/>
              </a:ext>
            </a:extLst>
          </p:cNvPr>
          <p:cNvSpPr>
            <a:spLocks noGrp="1"/>
          </p:cNvSpPr>
          <p:nvPr>
            <p:ph idx="19"/>
          </p:nvPr>
        </p:nvSpPr>
        <p:spPr bwMode="gray">
          <a:xfrm>
            <a:off x="8256588" y="1592263"/>
            <a:ext cx="3563936" cy="4537075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9354768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L and picture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CC325EB-BE14-422D-A6DB-EC36DD50623F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371475" y="1592263"/>
            <a:ext cx="5545139" cy="4537075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F3B27D5-EA0E-4516-B95F-89731B3E782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5" y="772324"/>
            <a:ext cx="11449050" cy="280412"/>
          </a:xfrm>
        </p:spPr>
        <p:txBody>
          <a:bodyPr/>
          <a:lstStyle>
            <a:lvl1pPr marL="0" indent="0">
              <a:buNone/>
              <a:defRPr sz="1600" cap="all" spc="8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A17F5985-A924-467A-A0A4-F51B07D2BD9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06ACC231-D213-4B79-9786-576D7699694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6959F301-7672-4363-99AB-0BB08F5899C3}" type="slidenum">
              <a:rPr lang="fr-FR" smtClean="0"/>
              <a:t>‹N°›</a:t>
            </a:fld>
            <a:endParaRPr lang="fr-FR"/>
          </a:p>
        </p:txBody>
      </p:sp>
      <p:sp>
        <p:nvSpPr>
          <p:cNvPr id="11" name="Bildplatzhalter 3">
            <a:extLst>
              <a:ext uri="{FF2B5EF4-FFF2-40B4-BE49-F238E27FC236}">
                <a16:creationId xmlns:a16="http://schemas.microsoft.com/office/drawing/2014/main" id="{405CAC59-96CE-478C-9C75-954091EA13C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6275385" y="1592263"/>
            <a:ext cx="5545139" cy="4285009"/>
          </a:xfrm>
          <a:solidFill>
            <a:schemeClr val="tx1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57018D7-73ED-44D4-933F-1BEAB17205C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275388" y="5910894"/>
            <a:ext cx="5545136" cy="218443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900"/>
            </a:lvl1pPr>
          </a:lstStyle>
          <a:p>
            <a:pPr lvl="0"/>
            <a:r>
              <a:rPr lang="de-DE" dirty="0"/>
              <a:t>Bildunterschrift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F1885B7-2E03-47DD-BD4B-63B7ACC2CC38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163869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L and pictur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CC325EB-BE14-422D-A6DB-EC36DD50623F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371364" y="1592263"/>
            <a:ext cx="2592499" cy="4537075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F3B27D5-EA0E-4516-B95F-89731B3E782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365" y="772324"/>
            <a:ext cx="11449160" cy="280412"/>
          </a:xfrm>
        </p:spPr>
        <p:txBody>
          <a:bodyPr/>
          <a:lstStyle>
            <a:lvl1pPr marL="0" indent="0">
              <a:buNone/>
              <a:defRPr sz="1600" cap="all" spc="8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A17F5985-A924-467A-A0A4-F51B07D2BD9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06ACC231-D213-4B79-9786-576D7699694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6959F301-7672-4363-99AB-0BB08F5899C3}" type="slidenum">
              <a:rPr lang="fr-FR" smtClean="0"/>
              <a:t>‹N°›</a:t>
            </a:fld>
            <a:endParaRPr lang="fr-FR"/>
          </a:p>
        </p:txBody>
      </p:sp>
      <p:sp>
        <p:nvSpPr>
          <p:cNvPr id="11" name="Bildplatzhalter 3">
            <a:extLst>
              <a:ext uri="{FF2B5EF4-FFF2-40B4-BE49-F238E27FC236}">
                <a16:creationId xmlns:a16="http://schemas.microsoft.com/office/drawing/2014/main" id="{405CAC59-96CE-478C-9C75-954091EA13C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3324225" y="1592263"/>
            <a:ext cx="8496300" cy="4285009"/>
          </a:xfrm>
          <a:solidFill>
            <a:schemeClr val="tx1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57018D7-73ED-44D4-933F-1BEAB17205C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324225" y="5910894"/>
            <a:ext cx="8496300" cy="218443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900"/>
            </a:lvl1pPr>
          </a:lstStyle>
          <a:p>
            <a:pPr lvl="0"/>
            <a:r>
              <a:rPr lang="de-DE" dirty="0"/>
              <a:t>Bildunterschrift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3A71FD0-D6A4-4724-A464-B27A01326CB9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algn="l">
              <a:defRPr/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473592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900BC5B3-F2A0-4A8D-9639-D8303B9B511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0" y="0"/>
            <a:ext cx="12192000" cy="6858000"/>
          </a:xfrm>
          <a:solidFill>
            <a:schemeClr val="tx1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57F30281-A66C-49CD-BC67-805AF8185F1A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C3BF31D-6648-425A-8115-2703ABA5A4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5" y="772324"/>
            <a:ext cx="11449050" cy="280412"/>
          </a:xfrm>
        </p:spPr>
        <p:txBody>
          <a:bodyPr/>
          <a:lstStyle>
            <a:lvl1pPr marL="0" indent="0">
              <a:buNone/>
              <a:defRPr sz="1600" cap="all" spc="8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65483044-202F-42BE-B623-A05A7143C4E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fld id="{6959F301-7672-4363-99AB-0BB08F5899C3}" type="slidenum">
              <a:rPr lang="fr-FR" smtClean="0"/>
              <a:t>‹N°›</a:t>
            </a:fld>
            <a:endParaRPr lang="fr-FR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4282ECD-EAC2-4687-ADA4-43F3F143166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394734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L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57F30281-A66C-49CD-BC67-805AF8185F1A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C3BF31D-6648-425A-8115-2703ABA5A4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365" y="772324"/>
            <a:ext cx="11449160" cy="280412"/>
          </a:xfrm>
        </p:spPr>
        <p:txBody>
          <a:bodyPr/>
          <a:lstStyle>
            <a:lvl1pPr marL="0" indent="0">
              <a:buNone/>
              <a:defRPr sz="1600" cap="all" spc="8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65483044-202F-42BE-B623-A05A7143C4E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fld id="{6959F301-7672-4363-99AB-0BB08F5899C3}" type="slidenum">
              <a:rPr lang="fr-FR" smtClean="0"/>
              <a:t>‹N°›</a:t>
            </a:fld>
            <a:endParaRPr lang="fr-FR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49D1E11-1F27-43E9-A619-3800CF71FD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703283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A110C601-1C9F-48C1-B18E-2411ED460D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68583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Diapositive think-cell" r:id="rId17" imgW="281" imgH="281" progId="TCLayout.ActiveDocument.1">
                  <p:embed/>
                </p:oleObj>
              </mc:Choice>
              <mc:Fallback>
                <p:oleObj name="Diapositive think-cell" r:id="rId17" imgW="281" imgH="2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BFFF6CC-C644-4F8B-A7AD-82F83A4A2949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 dirty="0" err="1">
              <a:solidFill>
                <a:schemeClr val="tx1"/>
              </a:solidFill>
              <a:latin typeface="Vitesco" panose="020B0504020202020204" pitchFamily="34" charset="0"/>
              <a:ea typeface="+mj-ea"/>
              <a:cs typeface="+mj-cs"/>
              <a:sym typeface="Vitesco" panose="020B0504020202020204" pitchFamily="34" charset="0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31F3E609-30E1-42A9-8D5E-E61AA83FAD65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71475" y="355602"/>
            <a:ext cx="11449050" cy="36512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B0A38B2-896B-48E2-B337-32EF709A1B6D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71475" y="1592263"/>
            <a:ext cx="11449050" cy="45370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3" name="Foliennummernplatzhalter 22">
            <a:extLst>
              <a:ext uri="{FF2B5EF4-FFF2-40B4-BE49-F238E27FC236}">
                <a16:creationId xmlns:a16="http://schemas.microsoft.com/office/drawing/2014/main" id="{8CC8C263-9E2F-40C3-8867-CB4A537C7B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371364" y="6570873"/>
            <a:ext cx="360040" cy="185105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700" spc="30" baseline="0">
                <a:solidFill>
                  <a:schemeClr val="tx1"/>
                </a:solidFill>
              </a:defRPr>
            </a:lvl1pPr>
          </a:lstStyle>
          <a:p>
            <a:fld id="{6959F301-7672-4363-99AB-0BB08F5899C3}" type="slidenum">
              <a:rPr lang="fr-FR" smtClean="0"/>
              <a:t>‹N°›</a:t>
            </a:fld>
            <a:endParaRPr lang="fr-FR"/>
          </a:p>
        </p:txBody>
      </p:sp>
      <p:pic>
        <p:nvPicPr>
          <p:cNvPr id="27" name="Grafik 26">
            <a:extLst>
              <a:ext uri="{FF2B5EF4-FFF2-40B4-BE49-F238E27FC236}">
                <a16:creationId xmlns:a16="http://schemas.microsoft.com/office/drawing/2014/main" id="{1D678A09-755E-4ADC-AA02-C61252B670E2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1094217" y="6420146"/>
            <a:ext cx="726419" cy="256357"/>
          </a:xfrm>
          <a:prstGeom prst="rect">
            <a:avLst/>
          </a:prstGeom>
        </p:spPr>
      </p:pic>
      <p:sp>
        <p:nvSpPr>
          <p:cNvPr id="28" name="Rechteck 27">
            <a:extLst>
              <a:ext uri="{FF2B5EF4-FFF2-40B4-BE49-F238E27FC236}">
                <a16:creationId xmlns:a16="http://schemas.microsoft.com/office/drawing/2014/main" id="{1A783CE7-0EF9-4D14-8316-C8DF4EE33AA6}"/>
              </a:ext>
            </a:extLst>
          </p:cNvPr>
          <p:cNvSpPr/>
          <p:nvPr/>
        </p:nvSpPr>
        <p:spPr bwMode="gray">
          <a:xfrm>
            <a:off x="0" y="0"/>
            <a:ext cx="138113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CB3DE9A-7BF9-4BA5-BE98-B2F461168D0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47849" y="6570875"/>
            <a:ext cx="8496301" cy="18510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700">
                <a:solidFill>
                  <a:schemeClr val="tx1"/>
                </a:solidFill>
              </a:defRPr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519853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563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Tx/>
        <a:buChar char="&gt;"/>
        <a:defRPr sz="1600" kern="1200" spc="20" baseline="0">
          <a:solidFill>
            <a:schemeClr val="tx1"/>
          </a:solidFill>
          <a:latin typeface="+mn-lt"/>
          <a:ea typeface="+mn-ea"/>
          <a:cs typeface="+mn-cs"/>
        </a:defRPr>
      </a:lvl1pPr>
      <a:lvl2pPr marL="358775" indent="-176213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Tx/>
        <a:buChar char="&gt;"/>
        <a:defRPr sz="1600" kern="1200" spc="20" baseline="0">
          <a:solidFill>
            <a:schemeClr val="tx1"/>
          </a:solidFill>
          <a:latin typeface="+mn-lt"/>
          <a:ea typeface="+mn-ea"/>
          <a:cs typeface="+mn-cs"/>
        </a:defRPr>
      </a:lvl2pPr>
      <a:lvl3pPr marL="541338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Tx/>
        <a:buChar char="&gt;"/>
        <a:defRPr sz="1600" kern="1200" spc="20" baseline="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74625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Tx/>
        <a:buChar char="&gt;"/>
        <a:defRPr sz="1600" kern="1200" spc="20" baseline="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Tx/>
        <a:buChar char="&gt;"/>
        <a:defRPr sz="1600" kern="1200" spc="2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87">
          <p15:clr>
            <a:srgbClr val="F26B43"/>
          </p15:clr>
        </p15:guide>
        <p15:guide id="2" pos="234">
          <p15:clr>
            <a:srgbClr val="F26B43"/>
          </p15:clr>
        </p15:guide>
        <p15:guide id="3" pos="7446">
          <p15:clr>
            <a:srgbClr val="F26B43"/>
          </p15:clr>
        </p15:guide>
        <p15:guide id="4" pos="3727">
          <p15:clr>
            <a:srgbClr val="F26B43"/>
          </p15:clr>
        </p15:guide>
        <p15:guide id="5" pos="3953">
          <p15:clr>
            <a:srgbClr val="F26B43"/>
          </p15:clr>
        </p15:guide>
        <p15:guide id="6" pos="3024">
          <p15:clr>
            <a:srgbClr val="F26B43"/>
          </p15:clr>
        </p15:guide>
        <p15:guide id="7" pos="2797">
          <p15:clr>
            <a:srgbClr val="F26B43"/>
          </p15:clr>
        </p15:guide>
        <p15:guide id="8" pos="4656">
          <p15:clr>
            <a:srgbClr val="F26B43"/>
          </p15:clr>
        </p15:guide>
        <p15:guide id="9" pos="4883">
          <p15:clr>
            <a:srgbClr val="F26B43"/>
          </p15:clr>
        </p15:guide>
        <p15:guide id="10" pos="5586">
          <p15:clr>
            <a:srgbClr val="F26B43"/>
          </p15:clr>
        </p15:guide>
        <p15:guide id="11" pos="5813">
          <p15:clr>
            <a:srgbClr val="F26B43"/>
          </p15:clr>
        </p15:guide>
        <p15:guide id="12" pos="1867">
          <p15:clr>
            <a:srgbClr val="F26B43"/>
          </p15:clr>
        </p15:guide>
        <p15:guide id="13" pos="2094">
          <p15:clr>
            <a:srgbClr val="F26B43"/>
          </p15:clr>
        </p15:guide>
        <p15:guide id="14" pos="1164">
          <p15:clr>
            <a:srgbClr val="F26B43"/>
          </p15:clr>
        </p15:guide>
        <p15:guide id="15" pos="937">
          <p15:clr>
            <a:srgbClr val="F26B43"/>
          </p15:clr>
        </p15:guide>
        <p15:guide id="16" pos="6516">
          <p15:clr>
            <a:srgbClr val="F26B43"/>
          </p15:clr>
        </p15:guide>
        <p15:guide id="17" pos="6743">
          <p15:clr>
            <a:srgbClr val="F26B43"/>
          </p15:clr>
        </p15:guide>
        <p15:guide id="18" orient="horz" pos="1003">
          <p15:clr>
            <a:srgbClr val="F26B43"/>
          </p15:clr>
        </p15:guide>
        <p15:guide id="19" orient="horz" pos="3861">
          <p15:clr>
            <a:srgbClr val="F26B43"/>
          </p15:clr>
        </p15:guide>
        <p15:guide id="20" pos="3840">
          <p15:clr>
            <a:srgbClr val="F26B43"/>
          </p15:clr>
        </p15:guide>
        <p15:guide id="21" orient="horz" pos="2432">
          <p15:clr>
            <a:srgbClr val="F26B43"/>
          </p15:clr>
        </p15:guide>
        <p15:guide id="22" pos="2479">
          <p15:clr>
            <a:srgbClr val="F26B43"/>
          </p15:clr>
        </p15:guide>
        <p15:guide id="23" pos="2706">
          <p15:clr>
            <a:srgbClr val="F26B43"/>
          </p15:clr>
        </p15:guide>
        <p15:guide id="24" pos="5201">
          <p15:clr>
            <a:srgbClr val="F26B43"/>
          </p15:clr>
        </p15:guide>
        <p15:guide id="25" pos="497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st.com/en/evaluation-tools/nucleo-f429zi.html" TargetMode="External"/><Relationship Id="rId3" Type="http://schemas.openxmlformats.org/officeDocument/2006/relationships/tags" Target="../tags/tag22.xml"/><Relationship Id="rId7" Type="http://schemas.openxmlformats.org/officeDocument/2006/relationships/image" Target="../media/image12.jpg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hyperlink" Target="https://fr.rs-online.com/web/p/connecteurs-hdmi/8183282/" TargetMode="External"/><Relationship Id="rId3" Type="http://schemas.openxmlformats.org/officeDocument/2006/relationships/tags" Target="../tags/tag8.xml"/><Relationship Id="rId7" Type="http://schemas.openxmlformats.org/officeDocument/2006/relationships/image" Target="../media/image3.tmp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4.xml"/><Relationship Id="rId9" Type="http://schemas.openxmlformats.org/officeDocument/2006/relationships/hyperlink" Target="https://www.we-online.fr/catalog/en/COM_SMT_HORIZONTAL?sq=685119134923&amp;sp=https%3A%2F%2Fwww.we-online.fr%2Fweb%2Ffr%2Fwuerth_elektronik%2Fsearchpage.php%3Fsearch%3D685119134923#685119134923" TargetMode="Externa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te.com/usa-en/product-1-1337542-0.html" TargetMode="External"/><Relationship Id="rId3" Type="http://schemas.openxmlformats.org/officeDocument/2006/relationships/tags" Target="../tags/tag10.xml"/><Relationship Id="rId7" Type="http://schemas.openxmlformats.org/officeDocument/2006/relationships/hyperlink" Target="https://fr.rs-online.com/web/p/connecteurs-coaxiaux/5121203/" TargetMode="Externa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tags" Target="../tags/tag12.xml"/><Relationship Id="rId7" Type="http://schemas.openxmlformats.org/officeDocument/2006/relationships/hyperlink" Target="https://www.waveshare.com/7inch-HDMI-LCD-B.htm" TargetMode="Externa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8.jpg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we-online.com/catalog/en/DC_RIGHT_ANGLED_6_4_69410X301002" TargetMode="External"/><Relationship Id="rId3" Type="http://schemas.openxmlformats.org/officeDocument/2006/relationships/tags" Target="../tags/tag16.xml"/><Relationship Id="rId7" Type="http://schemas.openxmlformats.org/officeDocument/2006/relationships/image" Target="../media/image9.tmp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nkkswitches.eu/products/Slides/Slides%20MS/MS12ASW30/" TargetMode="External"/><Relationship Id="rId3" Type="http://schemas.openxmlformats.org/officeDocument/2006/relationships/tags" Target="../tags/tag18.xml"/><Relationship Id="rId7" Type="http://schemas.openxmlformats.org/officeDocument/2006/relationships/hyperlink" Target="https://fr.rs-online.com/web/p/interrupteurs-a-glissiere/1251854/" TargetMode="Externa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0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11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AA4D8018-CACC-466B-9E67-7B9A36C547C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06653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Diapositive think-cell" r:id="rId5" imgW="281" imgH="281" progId="TCLayout.ActiveDocument.1">
                  <p:embed/>
                </p:oleObj>
              </mc:Choice>
              <mc:Fallback>
                <p:oleObj name="Diapositive think-cell" r:id="rId5" imgW="281" imgH="2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D75C59B2-FBF5-45FE-B31A-D6B07F03CE8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fr-FR" sz="5000" b="1" dirty="0" err="1">
              <a:solidFill>
                <a:schemeClr val="tx1"/>
              </a:solidFill>
              <a:latin typeface="Vitesco" panose="020B0504020202020204" pitchFamily="34" charset="0"/>
              <a:ea typeface="+mj-ea"/>
              <a:cs typeface="+mj-cs"/>
              <a:sym typeface="Vitesco" panose="020B0504020202020204" pitchFamily="34" charset="0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47488764-8C4E-48F4-9382-AE725898356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/>
              <a:t>Statut HW CW44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2168F983-6374-407D-B298-2BA5121E624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0E92EAEE-3A54-44E0-9970-642C1EE5EE5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762011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 8" hidden="1">
            <a:extLst>
              <a:ext uri="{FF2B5EF4-FFF2-40B4-BE49-F238E27FC236}">
                <a16:creationId xmlns:a16="http://schemas.microsoft.com/office/drawing/2014/main" id="{CD27F8C6-A44F-4C4A-A06F-C9FAE224968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52773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Diapositive think-cell" r:id="rId5" imgW="281" imgH="281" progId="TCLayout.ActiveDocument.1">
                  <p:embed/>
                </p:oleObj>
              </mc:Choice>
              <mc:Fallback>
                <p:oleObj name="Diapositive think-cell" r:id="rId5" imgW="281" imgH="2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EA5C204A-9E28-4332-8B58-3A1FE174730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fr-FR" sz="2800" b="1" dirty="0" err="1">
              <a:solidFill>
                <a:schemeClr val="tx1"/>
              </a:solidFill>
              <a:latin typeface="Vitesco" panose="020B0504020202020204" pitchFamily="34" charset="0"/>
              <a:ea typeface="+mj-ea"/>
              <a:cs typeface="+mj-cs"/>
              <a:sym typeface="Vitesco" panose="020B0504020202020204" pitchFamily="34" charset="0"/>
            </a:endParaRPr>
          </a:p>
        </p:txBody>
      </p:sp>
      <p:pic>
        <p:nvPicPr>
          <p:cNvPr id="7" name="Espace réservé du contenu 6" descr="Une image contenant texte, équipement électronique&#10;&#10;Description générée automatiquement">
            <a:extLst>
              <a:ext uri="{FF2B5EF4-FFF2-40B4-BE49-F238E27FC236}">
                <a16:creationId xmlns:a16="http://schemas.microsoft.com/office/drawing/2014/main" id="{4FB98DBA-AA3F-454E-9410-13A2986F937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794" y="2036763"/>
            <a:ext cx="4762500" cy="3648075"/>
          </a:xfrm>
        </p:spPr>
      </p:pic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67328833-6AE8-465C-B391-649F1CC9DA8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5324CF5E-E5C7-4D1C-B3E2-759A419276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arte MCU </a:t>
            </a:r>
          </a:p>
        </p:txBody>
      </p:sp>
      <p:sp>
        <p:nvSpPr>
          <p:cNvPr id="5" name="Espace réservé du contenu 4">
            <a:extLst>
              <a:ext uri="{FF2B5EF4-FFF2-40B4-BE49-F238E27FC236}">
                <a16:creationId xmlns:a16="http://schemas.microsoft.com/office/drawing/2014/main" id="{FEE65073-89D3-46AB-97C4-28DB5710EC36}"/>
              </a:ext>
            </a:extLst>
          </p:cNvPr>
          <p:cNvSpPr>
            <a:spLocks noGrp="1"/>
          </p:cNvSpPr>
          <p:nvPr>
            <p:ph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STM32 Nucleo-144 development board with STM32F429ZI MCU, supports Arduino, ST Zio and morpho connectivity </a:t>
            </a:r>
          </a:p>
          <a:p>
            <a:pPr marL="0" indent="0">
              <a:buNone/>
            </a:pPr>
            <a:endParaRPr lang="en-US" b="1" dirty="0"/>
          </a:p>
          <a:p>
            <a:pPr marL="0" indent="0">
              <a:buNone/>
            </a:pPr>
            <a:r>
              <a:rPr lang="en-US" dirty="0">
                <a:hlinkClick r:id="rId8"/>
              </a:rPr>
              <a:t>https://www.st.com/en/evaluation-tools/nucleo-f429zi.html</a:t>
            </a:r>
            <a:r>
              <a:rPr lang="en-US" dirty="0"/>
              <a:t> </a:t>
            </a:r>
          </a:p>
          <a:p>
            <a:pPr marL="0" indent="0">
              <a:buNone/>
            </a:pPr>
            <a:endParaRPr lang="en-US" b="1" dirty="0"/>
          </a:p>
          <a:p>
            <a:pPr marL="0" indent="0">
              <a:buNone/>
            </a:pPr>
            <a:endParaRPr lang="fr-FR" b="1" dirty="0"/>
          </a:p>
        </p:txBody>
      </p:sp>
    </p:spTree>
    <p:extLst>
      <p:ext uri="{BB962C8B-B14F-4D97-AF65-F5344CB8AC3E}">
        <p14:creationId xmlns:p14="http://schemas.microsoft.com/office/powerpoint/2010/main" val="6145477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23DEB53B-DFB3-4F53-9A6B-D2DEA6160E4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00472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Diapositive think-cell" r:id="rId4" imgW="281" imgH="281" progId="TCLayout.ActiveDocument.1">
                  <p:embed/>
                </p:oleObj>
              </mc:Choice>
              <mc:Fallback>
                <p:oleObj name="Diapositive think-cell" r:id="rId4" imgW="281" imgH="2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Espace réservé du contenu 8">
            <a:extLst>
              <a:ext uri="{FF2B5EF4-FFF2-40B4-BE49-F238E27FC236}">
                <a16:creationId xmlns:a16="http://schemas.microsoft.com/office/drawing/2014/main" id="{CB39F9DE-72C3-4D6D-A1B4-039344F4F59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1476" y="1592263"/>
            <a:ext cx="5545138" cy="280413"/>
          </a:xfrm>
        </p:spPr>
        <p:txBody>
          <a:bodyPr/>
          <a:lstStyle/>
          <a:p>
            <a:r>
              <a:rPr lang="fr-FR" dirty="0"/>
              <a:t>TOP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7226965C-8939-41A9-AF6E-53E13FEA2F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5D70A0F6-3125-420A-8579-27DE9CC89B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PCB</a:t>
            </a:r>
          </a:p>
        </p:txBody>
      </p:sp>
      <p:sp>
        <p:nvSpPr>
          <p:cNvPr id="11" name="Espace réservé du contenu 10">
            <a:extLst>
              <a:ext uri="{FF2B5EF4-FFF2-40B4-BE49-F238E27FC236}">
                <a16:creationId xmlns:a16="http://schemas.microsoft.com/office/drawing/2014/main" id="{A0EBAE8B-F231-4956-9D49-BFB7646C025C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6275387" y="1592263"/>
            <a:ext cx="5545137" cy="280413"/>
          </a:xfrm>
        </p:spPr>
        <p:txBody>
          <a:bodyPr/>
          <a:lstStyle/>
          <a:p>
            <a:r>
              <a:rPr lang="fr-FR" dirty="0"/>
              <a:t>BO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1D41B6E-5907-493E-8772-E9F0E99D76BA}"/>
              </a:ext>
            </a:extLst>
          </p:cNvPr>
          <p:cNvSpPr/>
          <p:nvPr/>
        </p:nvSpPr>
        <p:spPr>
          <a:xfrm>
            <a:off x="371475" y="2649996"/>
            <a:ext cx="5040000" cy="3240000"/>
          </a:xfrm>
          <a:prstGeom prst="rect">
            <a:avLst/>
          </a:prstGeom>
          <a:solidFill>
            <a:schemeClr val="accent3"/>
          </a:solidFill>
          <a:ln>
            <a:solidFill>
              <a:srgbClr val="3A6A3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400" dirty="0" err="1">
              <a:solidFill>
                <a:schemeClr val="tx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44424D8-4EDD-42E6-B693-01B8E15412E8}"/>
              </a:ext>
            </a:extLst>
          </p:cNvPr>
          <p:cNvSpPr/>
          <p:nvPr/>
        </p:nvSpPr>
        <p:spPr>
          <a:xfrm>
            <a:off x="551475" y="2829996"/>
            <a:ext cx="4680000" cy="2880000"/>
          </a:xfrm>
          <a:prstGeom prst="rect">
            <a:avLst/>
          </a:prstGeom>
          <a:solidFill>
            <a:srgbClr val="006EAA"/>
          </a:solidFill>
          <a:ln>
            <a:solidFill>
              <a:srgbClr val="0050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400" dirty="0" err="1">
              <a:solidFill>
                <a:schemeClr val="tx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0A441C9-3CE9-4A0C-AEE9-F4B5511CE012}"/>
              </a:ext>
            </a:extLst>
          </p:cNvPr>
          <p:cNvSpPr/>
          <p:nvPr/>
        </p:nvSpPr>
        <p:spPr>
          <a:xfrm>
            <a:off x="6663218" y="2649996"/>
            <a:ext cx="5040000" cy="3240000"/>
          </a:xfrm>
          <a:prstGeom prst="rect">
            <a:avLst/>
          </a:prstGeom>
          <a:solidFill>
            <a:schemeClr val="accent3"/>
          </a:solidFill>
          <a:ln>
            <a:solidFill>
              <a:srgbClr val="3A6A3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400" dirty="0" err="1">
              <a:solidFill>
                <a:schemeClr val="tx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99DD33B-4560-4CD7-84B5-0FAC11EAD834}"/>
              </a:ext>
            </a:extLst>
          </p:cNvPr>
          <p:cNvSpPr/>
          <p:nvPr/>
        </p:nvSpPr>
        <p:spPr>
          <a:xfrm>
            <a:off x="703875" y="2982396"/>
            <a:ext cx="4320000" cy="2520000"/>
          </a:xfrm>
          <a:prstGeom prst="rect">
            <a:avLst/>
          </a:prstGeom>
          <a:solidFill>
            <a:schemeClr val="tx1">
              <a:lumMod val="50000"/>
            </a:schemeClr>
          </a:solidFill>
          <a:ln w="571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bg1"/>
                </a:solidFill>
              </a:rPr>
              <a:t>ECRAN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AFBFEE2-D1E8-43BC-B303-D41F10C97E68}"/>
              </a:ext>
            </a:extLst>
          </p:cNvPr>
          <p:cNvSpPr/>
          <p:nvPr/>
        </p:nvSpPr>
        <p:spPr>
          <a:xfrm>
            <a:off x="5916614" y="2829996"/>
            <a:ext cx="1021081" cy="280413"/>
          </a:xfrm>
          <a:prstGeom prst="rect">
            <a:avLst/>
          </a:prstGeom>
          <a:solidFill>
            <a:schemeClr val="tx1">
              <a:lumMod val="50000"/>
            </a:schemeClr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400" dirty="0">
                <a:solidFill>
                  <a:schemeClr val="bg1"/>
                </a:solidFill>
              </a:rPr>
              <a:t>+12 VDC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5F3C3D7-9ABE-4177-97D3-57A922AA680B}"/>
              </a:ext>
            </a:extLst>
          </p:cNvPr>
          <p:cNvSpPr/>
          <p:nvPr/>
        </p:nvSpPr>
        <p:spPr>
          <a:xfrm>
            <a:off x="6562413" y="3820152"/>
            <a:ext cx="239449" cy="495154"/>
          </a:xfrm>
          <a:prstGeom prst="rect">
            <a:avLst/>
          </a:prstGeom>
          <a:solidFill>
            <a:schemeClr val="tx1">
              <a:lumMod val="50000"/>
            </a:schemeClr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700" dirty="0">
                <a:solidFill>
                  <a:schemeClr val="bg1"/>
                </a:solidFill>
              </a:rPr>
              <a:t>ON/ OFF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DD147D9-CF94-42F1-A6FD-B2C9001A1572}"/>
              </a:ext>
            </a:extLst>
          </p:cNvPr>
          <p:cNvSpPr/>
          <p:nvPr/>
        </p:nvSpPr>
        <p:spPr>
          <a:xfrm>
            <a:off x="6373366" y="4067729"/>
            <a:ext cx="239449" cy="152400"/>
          </a:xfrm>
          <a:prstGeom prst="rect">
            <a:avLst/>
          </a:prstGeom>
          <a:solidFill>
            <a:srgbClr val="DC230F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 dirty="0" err="1">
              <a:solidFill>
                <a:schemeClr val="tx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09600F5-4F3C-40C7-8C44-E9B7BD090C81}"/>
              </a:ext>
            </a:extLst>
          </p:cNvPr>
          <p:cNvSpPr/>
          <p:nvPr/>
        </p:nvSpPr>
        <p:spPr>
          <a:xfrm rot="5400000">
            <a:off x="11347385" y="2970202"/>
            <a:ext cx="711665" cy="280413"/>
          </a:xfrm>
          <a:prstGeom prst="rect">
            <a:avLst/>
          </a:prstGeom>
          <a:solidFill>
            <a:schemeClr val="tx1">
              <a:lumMod val="50000"/>
            </a:schemeClr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400" dirty="0">
                <a:solidFill>
                  <a:schemeClr val="bg1"/>
                </a:solidFill>
              </a:rPr>
              <a:t>HDMI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7A03867-B9E3-4508-8969-624ADCBE14E4}"/>
              </a:ext>
            </a:extLst>
          </p:cNvPr>
          <p:cNvSpPr/>
          <p:nvPr/>
        </p:nvSpPr>
        <p:spPr>
          <a:xfrm rot="16200000">
            <a:off x="6374408" y="4992064"/>
            <a:ext cx="568091" cy="280413"/>
          </a:xfrm>
          <a:prstGeom prst="rect">
            <a:avLst/>
          </a:prstGeom>
          <a:solidFill>
            <a:schemeClr val="tx1">
              <a:lumMod val="50000"/>
            </a:schemeClr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400" dirty="0">
                <a:solidFill>
                  <a:schemeClr val="bg1"/>
                </a:solidFill>
              </a:rPr>
              <a:t>USB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DA046C-9E65-4FFE-8C1B-B15F12DBC2A2}"/>
              </a:ext>
            </a:extLst>
          </p:cNvPr>
          <p:cNvSpPr/>
          <p:nvPr/>
        </p:nvSpPr>
        <p:spPr>
          <a:xfrm>
            <a:off x="7214531" y="4067730"/>
            <a:ext cx="2541865" cy="1588918"/>
          </a:xfrm>
          <a:prstGeom prst="rect">
            <a:avLst/>
          </a:prstGeom>
          <a:solidFill>
            <a:schemeClr val="bg1"/>
          </a:solidFill>
          <a:ln w="57150"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>
                <a:solidFill>
                  <a:schemeClr val="tx1"/>
                </a:solidFill>
              </a:rPr>
              <a:t>Carte MCU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69F9E0D-660B-4F9E-A53E-23347593B9E5}"/>
              </a:ext>
            </a:extLst>
          </p:cNvPr>
          <p:cNvSpPr/>
          <p:nvPr/>
        </p:nvSpPr>
        <p:spPr>
          <a:xfrm rot="16200000">
            <a:off x="9989065" y="3032129"/>
            <a:ext cx="1368000" cy="1008000"/>
          </a:xfrm>
          <a:prstGeom prst="rect">
            <a:avLst/>
          </a:prstGeom>
          <a:solidFill>
            <a:schemeClr val="bg2"/>
          </a:solidFill>
          <a:ln w="57150"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>
                <a:solidFill>
                  <a:schemeClr val="tx1"/>
                </a:solidFill>
              </a:rPr>
              <a:t>MODULE HV3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A5EC9FF6-5C03-461E-A623-0A30C6B97C48}"/>
              </a:ext>
            </a:extLst>
          </p:cNvPr>
          <p:cNvSpPr/>
          <p:nvPr/>
        </p:nvSpPr>
        <p:spPr>
          <a:xfrm rot="16200000">
            <a:off x="9989065" y="4551062"/>
            <a:ext cx="1368000" cy="1008000"/>
          </a:xfrm>
          <a:prstGeom prst="rect">
            <a:avLst/>
          </a:prstGeom>
          <a:solidFill>
            <a:schemeClr val="bg2"/>
          </a:solidFill>
          <a:ln w="57150"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>
                <a:solidFill>
                  <a:schemeClr val="tx1"/>
                </a:solidFill>
              </a:rPr>
              <a:t>MODULE HV3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502ACFD5-4AA4-4E30-9843-75BB197A562B}"/>
              </a:ext>
            </a:extLst>
          </p:cNvPr>
          <p:cNvSpPr/>
          <p:nvPr/>
        </p:nvSpPr>
        <p:spPr>
          <a:xfrm>
            <a:off x="7214531" y="2924966"/>
            <a:ext cx="1384148" cy="1008000"/>
          </a:xfrm>
          <a:prstGeom prst="rect">
            <a:avLst/>
          </a:prstGeom>
          <a:solidFill>
            <a:schemeClr val="accent1"/>
          </a:solidFill>
          <a:ln w="57150"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>
                <a:solidFill>
                  <a:schemeClr val="bg1"/>
                </a:solidFill>
              </a:rPr>
              <a:t>Alim</a:t>
            </a: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1371BF66-81A5-44A1-9CD1-559F7AB0B442}"/>
              </a:ext>
            </a:extLst>
          </p:cNvPr>
          <p:cNvSpPr txBox="1"/>
          <p:nvPr/>
        </p:nvSpPr>
        <p:spPr>
          <a:xfrm>
            <a:off x="4345497" y="6434356"/>
            <a:ext cx="143340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fr-FR" sz="1400" dirty="0"/>
              <a:t>Pas à l’échelle !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9829BAD-AE2B-452E-9850-6108E068FDCD}"/>
              </a:ext>
            </a:extLst>
          </p:cNvPr>
          <p:cNvSpPr/>
          <p:nvPr/>
        </p:nvSpPr>
        <p:spPr>
          <a:xfrm rot="5400000">
            <a:off x="11416500" y="3717005"/>
            <a:ext cx="573436" cy="280412"/>
          </a:xfrm>
          <a:prstGeom prst="rect">
            <a:avLst/>
          </a:prstGeom>
          <a:solidFill>
            <a:schemeClr val="tx1">
              <a:lumMod val="50000"/>
            </a:schemeClr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400" dirty="0">
                <a:solidFill>
                  <a:schemeClr val="bg1"/>
                </a:solidFill>
              </a:rPr>
              <a:t>BNC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91179B7D-9EC4-4017-BBDA-83FEE27DE9D8}"/>
              </a:ext>
            </a:extLst>
          </p:cNvPr>
          <p:cNvSpPr/>
          <p:nvPr/>
        </p:nvSpPr>
        <p:spPr>
          <a:xfrm rot="5400000">
            <a:off x="11350297" y="4529207"/>
            <a:ext cx="711665" cy="280413"/>
          </a:xfrm>
          <a:prstGeom prst="rect">
            <a:avLst/>
          </a:prstGeom>
          <a:solidFill>
            <a:schemeClr val="tx1">
              <a:lumMod val="50000"/>
            </a:schemeClr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400" dirty="0">
                <a:solidFill>
                  <a:schemeClr val="bg1"/>
                </a:solidFill>
              </a:rPr>
              <a:t>HDMI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67253F55-9A3F-43D7-8F62-9EDABC9897C4}"/>
              </a:ext>
            </a:extLst>
          </p:cNvPr>
          <p:cNvSpPr/>
          <p:nvPr/>
        </p:nvSpPr>
        <p:spPr>
          <a:xfrm rot="5400000">
            <a:off x="11419412" y="5276010"/>
            <a:ext cx="573436" cy="280412"/>
          </a:xfrm>
          <a:prstGeom prst="rect">
            <a:avLst/>
          </a:prstGeom>
          <a:solidFill>
            <a:schemeClr val="tx1">
              <a:lumMod val="50000"/>
            </a:schemeClr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400" dirty="0">
                <a:solidFill>
                  <a:schemeClr val="bg1"/>
                </a:solidFill>
              </a:rPr>
              <a:t>BNC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343E1FB7-E85E-4472-943A-35E83E122C4B}"/>
              </a:ext>
            </a:extLst>
          </p:cNvPr>
          <p:cNvSpPr/>
          <p:nvPr/>
        </p:nvSpPr>
        <p:spPr>
          <a:xfrm>
            <a:off x="8712432" y="2924966"/>
            <a:ext cx="1137990" cy="1008000"/>
          </a:xfrm>
          <a:prstGeom prst="rect">
            <a:avLst/>
          </a:prstGeom>
          <a:solidFill>
            <a:srgbClr val="006EAA"/>
          </a:solidFill>
          <a:ln w="57150"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>
                <a:solidFill>
                  <a:schemeClr val="bg1"/>
                </a:solidFill>
              </a:rPr>
              <a:t>LCD</a:t>
            </a:r>
          </a:p>
          <a:p>
            <a:pPr algn="ctr"/>
            <a:r>
              <a:rPr lang="fr-FR" sz="1400" b="1" dirty="0" err="1">
                <a:solidFill>
                  <a:schemeClr val="bg1"/>
                </a:solidFill>
              </a:rPr>
              <a:t>Controleur</a:t>
            </a:r>
            <a:endParaRPr lang="fr-FR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16670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ECB67263-0379-4BF9-9F55-34BDD8906CB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95655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Diapositive think-cell" r:id="rId5" imgW="281" imgH="281" progId="TCLayout.ActiveDocument.1">
                  <p:embed/>
                </p:oleObj>
              </mc:Choice>
              <mc:Fallback>
                <p:oleObj name="Diapositive think-cell" r:id="rId5" imgW="281" imgH="2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F51FB29-3C60-464B-A1AD-1999B9F0A15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fr-FR" sz="2800" b="1" dirty="0" err="1">
              <a:solidFill>
                <a:schemeClr val="tx1"/>
              </a:solidFill>
              <a:latin typeface="Vitesco" panose="020B0504020202020204" pitchFamily="34" charset="0"/>
              <a:ea typeface="+mj-ea"/>
              <a:cs typeface="+mj-cs"/>
              <a:sym typeface="Vitesco" panose="020B0504020202020204" pitchFamily="34" charset="0"/>
            </a:endParaRPr>
          </a:p>
        </p:txBody>
      </p:sp>
      <p:pic>
        <p:nvPicPr>
          <p:cNvPr id="9" name="Espace réservé du contenu 8" descr="Une image contenant objets métalliques, jack&#10;&#10;Description générée automatiquement">
            <a:extLst>
              <a:ext uri="{FF2B5EF4-FFF2-40B4-BE49-F238E27FC236}">
                <a16:creationId xmlns:a16="http://schemas.microsoft.com/office/drawing/2014/main" id="{13A95A0B-3B23-4486-89B3-8E9BBF1073F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1258" y="2489081"/>
            <a:ext cx="3825572" cy="2743438"/>
          </a:xfrm>
        </p:spPr>
      </p:pic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9A1B4F50-9990-4D9C-9AFE-222B322F2A9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57369034-0C96-4742-870C-C6AF6D7520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onnecteur HDMI</a:t>
            </a:r>
          </a:p>
        </p:txBody>
      </p:sp>
      <p:sp>
        <p:nvSpPr>
          <p:cNvPr id="5" name="Espace réservé du contenu 4">
            <a:extLst>
              <a:ext uri="{FF2B5EF4-FFF2-40B4-BE49-F238E27FC236}">
                <a16:creationId xmlns:a16="http://schemas.microsoft.com/office/drawing/2014/main" id="{D547759D-DD90-47F2-9882-649CBB800E9C}"/>
              </a:ext>
            </a:extLst>
          </p:cNvPr>
          <p:cNvSpPr>
            <a:spLocks noGrp="1"/>
          </p:cNvSpPr>
          <p:nvPr>
            <p:ph idx="16"/>
          </p:nvPr>
        </p:nvSpPr>
        <p:spPr/>
        <p:txBody>
          <a:bodyPr/>
          <a:lstStyle/>
          <a:p>
            <a:r>
              <a:rPr lang="fr-FR" b="1" dirty="0"/>
              <a:t>Connecteur HDMI Femelle 19 voies Standard Angle droit 40 V </a:t>
            </a:r>
            <a:r>
              <a:rPr lang="fr-FR" b="1" dirty="0" err="1"/>
              <a:t>c.c</a:t>
            </a:r>
            <a:r>
              <a:rPr lang="fr-FR" b="1" dirty="0"/>
              <a:t>. </a:t>
            </a:r>
          </a:p>
          <a:p>
            <a:pPr marL="0" indent="0">
              <a:buNone/>
            </a:pPr>
            <a:endParaRPr lang="fr-FR" b="1" dirty="0"/>
          </a:p>
          <a:p>
            <a:pPr marL="0" indent="0">
              <a:buNone/>
            </a:pPr>
            <a:r>
              <a:rPr lang="fr-FR" dirty="0">
                <a:hlinkClick r:id="rId8"/>
              </a:rPr>
              <a:t>https://fr.rs-online.com/web/p/connecteurs-hdmi/8183282/</a:t>
            </a:r>
            <a:r>
              <a:rPr lang="fr-FR" dirty="0"/>
              <a:t> </a:t>
            </a:r>
          </a:p>
          <a:p>
            <a:pPr marL="0" indent="0">
              <a:buNone/>
            </a:pPr>
            <a:endParaRPr lang="fr-FR" dirty="0"/>
          </a:p>
          <a:p>
            <a:pPr marL="0" indent="0">
              <a:buNone/>
            </a:pPr>
            <a:r>
              <a:rPr lang="fr-FR" dirty="0">
                <a:hlinkClick r:id="rId9"/>
              </a:rPr>
              <a:t>https://www.we-online.fr/catalog/en/COM_SMT_HORIZONTAL?sq=685119134923&amp;sp=https%3A%2F%2Fwww.we-online.fr%2Fweb%2Ffr%2Fwuerth_elektronik%2Fsearchpage.php%3Fsearch%3D685119134923#685119134923</a:t>
            </a:r>
            <a:r>
              <a:rPr lang="fr-FR" dirty="0"/>
              <a:t>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CF4B846-FA92-4BB0-9618-393AAC1150F5}"/>
              </a:ext>
            </a:extLst>
          </p:cNvPr>
          <p:cNvSpPr/>
          <p:nvPr/>
        </p:nvSpPr>
        <p:spPr>
          <a:xfrm>
            <a:off x="8639174" y="5754465"/>
            <a:ext cx="2085975" cy="914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b="1" dirty="0">
                <a:solidFill>
                  <a:schemeClr val="bg1"/>
                </a:solidFill>
              </a:rPr>
              <a:t>3D AVAILABLE </a:t>
            </a:r>
          </a:p>
        </p:txBody>
      </p:sp>
    </p:spTree>
    <p:extLst>
      <p:ext uri="{BB962C8B-B14F-4D97-AF65-F5344CB8AC3E}">
        <p14:creationId xmlns:p14="http://schemas.microsoft.com/office/powerpoint/2010/main" val="183700871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ECB67263-0379-4BF9-9F55-34BDD8906CB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71790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Diapositive think-cell" r:id="rId5" imgW="281" imgH="281" progId="TCLayout.ActiveDocument.1">
                  <p:embed/>
                </p:oleObj>
              </mc:Choice>
              <mc:Fallback>
                <p:oleObj name="Diapositive think-cell" r:id="rId5" imgW="281" imgH="281" progId="TCLayout.ActiveDocument.1">
                  <p:embed/>
                  <p:pic>
                    <p:nvPicPr>
                      <p:cNvPr id="6" name="Objet 5" hidden="1">
                        <a:extLst>
                          <a:ext uri="{FF2B5EF4-FFF2-40B4-BE49-F238E27FC236}">
                            <a16:creationId xmlns:a16="http://schemas.microsoft.com/office/drawing/2014/main" id="{ECB67263-0379-4BF9-9F55-34BDD8906C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F51FB29-3C60-464B-A1AD-1999B9F0A15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fr-FR" sz="2800" b="1" dirty="0" err="1">
              <a:solidFill>
                <a:schemeClr val="tx1"/>
              </a:solidFill>
              <a:latin typeface="Vitesco" panose="020B0504020202020204" pitchFamily="34" charset="0"/>
              <a:ea typeface="+mj-ea"/>
              <a:cs typeface="+mj-cs"/>
              <a:sym typeface="Vitesco" panose="020B0504020202020204" pitchFamily="34" charset="0"/>
            </a:endParaRP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9A1B4F50-9990-4D9C-9AFE-222B322F2A9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57369034-0C96-4742-870C-C6AF6D7520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onnecteur BNC</a:t>
            </a:r>
          </a:p>
        </p:txBody>
      </p:sp>
      <p:sp>
        <p:nvSpPr>
          <p:cNvPr id="5" name="Espace réservé du contenu 4">
            <a:extLst>
              <a:ext uri="{FF2B5EF4-FFF2-40B4-BE49-F238E27FC236}">
                <a16:creationId xmlns:a16="http://schemas.microsoft.com/office/drawing/2014/main" id="{D547759D-DD90-47F2-9882-649CBB800E9C}"/>
              </a:ext>
            </a:extLst>
          </p:cNvPr>
          <p:cNvSpPr>
            <a:spLocks noGrp="1"/>
          </p:cNvSpPr>
          <p:nvPr>
            <p:ph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fr-FR" b="1" dirty="0"/>
              <a:t>Connecteur BNC, Femelle, à angle droit, raccordement Traversant, 50Ω, Montage sur CI</a:t>
            </a:r>
          </a:p>
          <a:p>
            <a:pPr marL="0" indent="0">
              <a:buNone/>
            </a:pPr>
            <a:endParaRPr lang="fr-FR" b="1" dirty="0"/>
          </a:p>
          <a:p>
            <a:pPr marL="0" indent="0">
              <a:buNone/>
            </a:pPr>
            <a:r>
              <a:rPr lang="fr-FR" dirty="0">
                <a:hlinkClick r:id="rId7"/>
              </a:rPr>
              <a:t>https://fr.rs-online.com/web/p/connecteurs-coaxiaux/5121203/</a:t>
            </a:r>
            <a:r>
              <a:rPr lang="fr-FR" dirty="0"/>
              <a:t> </a:t>
            </a:r>
          </a:p>
          <a:p>
            <a:pPr marL="0" indent="0">
              <a:buNone/>
            </a:pPr>
            <a:endParaRPr lang="fr-FR" dirty="0"/>
          </a:p>
          <a:p>
            <a:pPr marL="0" indent="0">
              <a:buNone/>
            </a:pPr>
            <a:r>
              <a:rPr lang="fr-FR" dirty="0">
                <a:hlinkClick r:id="rId8"/>
              </a:rPr>
              <a:t>https://www.te.com/usa-en/product-1-1337542-0.html</a:t>
            </a:r>
            <a:r>
              <a:rPr lang="fr-FR" dirty="0"/>
              <a:t>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CF4B846-FA92-4BB0-9618-393AAC1150F5}"/>
              </a:ext>
            </a:extLst>
          </p:cNvPr>
          <p:cNvSpPr/>
          <p:nvPr/>
        </p:nvSpPr>
        <p:spPr>
          <a:xfrm>
            <a:off x="8639174" y="5754465"/>
            <a:ext cx="2085975" cy="914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b="1" dirty="0">
                <a:solidFill>
                  <a:schemeClr val="bg1"/>
                </a:solidFill>
              </a:rPr>
              <a:t>3D AVAILABLE </a:t>
            </a:r>
          </a:p>
        </p:txBody>
      </p:sp>
      <p:pic>
        <p:nvPicPr>
          <p:cNvPr id="6146" name="Picture 2" descr="BNC Ins LP PCB Skt 50Ohm White-1-1337542-0">
            <a:extLst>
              <a:ext uri="{FF2B5EF4-FFF2-40B4-BE49-F238E27FC236}">
                <a16:creationId xmlns:a16="http://schemas.microsoft.com/office/drawing/2014/main" id="{C5B35E79-FC91-4E9C-BE9E-186804B2422A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4810" y="2752726"/>
            <a:ext cx="3261784" cy="2446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100767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2C271E7B-20BD-4137-A822-53B6061A22E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Diapositive think-cell" r:id="rId5" imgW="425" imgH="426" progId="TCLayout.ActiveDocument.1">
                  <p:embed/>
                </p:oleObj>
              </mc:Choice>
              <mc:Fallback>
                <p:oleObj name="Diapositive think-cell" r:id="rId5" imgW="425" imgH="42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2C271E7B-20BD-4137-A822-53B6061A22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8D4B208-F343-4B4C-B750-3231C81B177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fr-FR" sz="2800" b="1" dirty="0" err="1">
              <a:solidFill>
                <a:schemeClr val="tx1"/>
              </a:solidFill>
              <a:latin typeface="Vitesco" panose="020B0504020202020204" pitchFamily="34" charset="0"/>
              <a:ea typeface="+mj-ea"/>
              <a:cs typeface="+mj-cs"/>
              <a:sym typeface="Vitesco" panose="020B0504020202020204" pitchFamily="34" charset="0"/>
            </a:endParaRP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56BB706C-CC46-461E-8668-EBB7E5023A5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7 </a:t>
            </a:r>
            <a:r>
              <a:rPr lang="fr-FR" dirty="0" err="1"/>
              <a:t>inch</a:t>
            </a:r>
            <a:r>
              <a:rPr lang="fr-FR" dirty="0"/>
              <a:t> HDMI LCD 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8A37E3AF-F529-4C44-8CC3-1E2AF1D742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Ecran</a:t>
            </a:r>
            <a:r>
              <a:rPr lang="fr-FR" dirty="0"/>
              <a:t> tactile</a:t>
            </a:r>
          </a:p>
        </p:txBody>
      </p:sp>
      <p:sp>
        <p:nvSpPr>
          <p:cNvPr id="7" name="Espace réservé du contenu 6">
            <a:extLst>
              <a:ext uri="{FF2B5EF4-FFF2-40B4-BE49-F238E27FC236}">
                <a16:creationId xmlns:a16="http://schemas.microsoft.com/office/drawing/2014/main" id="{57B5E5F4-651B-49F4-B84A-F151C92174DD}"/>
              </a:ext>
            </a:extLst>
          </p:cNvPr>
          <p:cNvSpPr>
            <a:spLocks noGrp="1"/>
          </p:cNvSpPr>
          <p:nvPr>
            <p:ph idx="16"/>
          </p:nvPr>
        </p:nvSpPr>
        <p:spPr/>
        <p:txBody>
          <a:bodyPr/>
          <a:lstStyle/>
          <a:p>
            <a:pPr marL="0" indent="0">
              <a:lnSpc>
                <a:spcPct val="200000"/>
              </a:lnSpc>
              <a:buNone/>
            </a:pPr>
            <a:r>
              <a:rPr lang="fr-FR" b="1" dirty="0"/>
              <a:t>7inch HDMI LCD (B) </a:t>
            </a:r>
          </a:p>
          <a:p>
            <a:pPr marL="176212" lvl="1" indent="0">
              <a:lnSpc>
                <a:spcPct val="200000"/>
              </a:lnSpc>
              <a:buNone/>
            </a:pPr>
            <a:r>
              <a:rPr lang="en-US" dirty="0"/>
              <a:t>Resolution: 800 x 480</a:t>
            </a:r>
          </a:p>
          <a:p>
            <a:pPr marL="182562" lvl="1" indent="0">
              <a:buNone/>
            </a:pPr>
            <a:r>
              <a:rPr lang="en-US" dirty="0"/>
              <a:t>7” LCD Screen </a:t>
            </a:r>
          </a:p>
          <a:p>
            <a:pPr marL="182562" lvl="1" indent="0">
              <a:buNone/>
            </a:pPr>
            <a:r>
              <a:rPr lang="en-US" dirty="0"/>
              <a:t>Capacitive Touch</a:t>
            </a:r>
          </a:p>
          <a:p>
            <a:pPr marL="182562" lvl="1" indent="0">
              <a:buNone/>
            </a:pPr>
            <a:endParaRPr lang="fr-FR" dirty="0"/>
          </a:p>
          <a:p>
            <a:pPr marL="182562" lvl="1" indent="0">
              <a:buNone/>
            </a:pPr>
            <a:r>
              <a:rPr lang="fr-FR" dirty="0">
                <a:hlinkClick r:id="rId7"/>
              </a:rPr>
              <a:t>https://www.waveshare.com/7inch-HDMI-LCD-B.htm</a:t>
            </a:r>
            <a:r>
              <a:rPr lang="fr-FR" dirty="0"/>
              <a:t> </a:t>
            </a:r>
          </a:p>
          <a:p>
            <a:pPr marL="182562" lvl="1" indent="0">
              <a:buNone/>
            </a:pPr>
            <a:endParaRPr lang="fr-FR" dirty="0"/>
          </a:p>
        </p:txBody>
      </p:sp>
      <p:pic>
        <p:nvPicPr>
          <p:cNvPr id="3074" name="Picture 2" descr="Waveshare 7 inch 1024*600 Capacitive Touch Screen LCD Display HDMI  Interface Custom Raspbian Angstrom Supports Various Systems for All Ver.  Raspberry pi Beaglebone Black Banana Pi/Pro Video Photo Kit: Amazon.fr:  High-tech">
            <a:extLst>
              <a:ext uri="{FF2B5EF4-FFF2-40B4-BE49-F238E27FC236}">
                <a16:creationId xmlns:a16="http://schemas.microsoft.com/office/drawing/2014/main" id="{DAAB2A7A-968F-46A8-9BE3-D20D8EF088C9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1475" y="2256059"/>
            <a:ext cx="5545138" cy="32094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>
            <a:extLst>
              <a:ext uri="{FF2B5EF4-FFF2-40B4-BE49-F238E27FC236}">
                <a16:creationId xmlns:a16="http://schemas.microsoft.com/office/drawing/2014/main" id="{160AECD0-9703-4C29-A9D8-E969D88C32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59113" y="4798792"/>
            <a:ext cx="2857500" cy="666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2814147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2C271E7B-20BD-4137-A822-53B6061A22E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" name="Diapositive think-cell" r:id="rId5" imgW="425" imgH="426" progId="TCLayout.ActiveDocument.1">
                  <p:embed/>
                </p:oleObj>
              </mc:Choice>
              <mc:Fallback>
                <p:oleObj name="Diapositive think-cell" r:id="rId5" imgW="425" imgH="42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2C271E7B-20BD-4137-A822-53B6061A22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8D4B208-F343-4B4C-B750-3231C81B177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fr-FR" sz="2800" b="1" dirty="0" err="1">
              <a:solidFill>
                <a:schemeClr val="tx1"/>
              </a:solidFill>
              <a:latin typeface="Vitesco" panose="020B0504020202020204" pitchFamily="34" charset="0"/>
              <a:ea typeface="+mj-ea"/>
              <a:cs typeface="+mj-cs"/>
              <a:sym typeface="Vitesco" panose="020B0504020202020204" pitchFamily="34" charset="0"/>
            </a:endParaRP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56BB706C-CC46-461E-8668-EBB7E5023A5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 err="1"/>
              <a:t>Controleur</a:t>
            </a:r>
            <a:r>
              <a:rPr lang="fr-FR" dirty="0"/>
              <a:t> écran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8A37E3AF-F529-4C44-8CC3-1E2AF1D742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Ecran</a:t>
            </a:r>
            <a:r>
              <a:rPr lang="fr-FR" dirty="0"/>
              <a:t> tactile</a:t>
            </a:r>
          </a:p>
        </p:txBody>
      </p:sp>
      <p:sp>
        <p:nvSpPr>
          <p:cNvPr id="7" name="Espace réservé du contenu 6">
            <a:extLst>
              <a:ext uri="{FF2B5EF4-FFF2-40B4-BE49-F238E27FC236}">
                <a16:creationId xmlns:a16="http://schemas.microsoft.com/office/drawing/2014/main" id="{57B5E5F4-651B-49F4-B84A-F151C92174DD}"/>
              </a:ext>
            </a:extLst>
          </p:cNvPr>
          <p:cNvSpPr>
            <a:spLocks noGrp="1"/>
          </p:cNvSpPr>
          <p:nvPr>
            <p:ph idx="16"/>
          </p:nvPr>
        </p:nvSpPr>
        <p:spPr/>
        <p:txBody>
          <a:bodyPr/>
          <a:lstStyle/>
          <a:p>
            <a:pPr marL="0" indent="0">
              <a:lnSpc>
                <a:spcPct val="200000"/>
              </a:lnSpc>
              <a:buNone/>
            </a:pPr>
            <a:r>
              <a:rPr lang="en-US" b="1" dirty="0"/>
              <a:t>RA8875 Driver Board for 40-pin TFT Touch Displays - 800x480</a:t>
            </a:r>
          </a:p>
          <a:p>
            <a:pPr marL="182562" lvl="1" indent="0">
              <a:buNone/>
            </a:pPr>
            <a:endParaRPr lang="fr-FR" dirty="0"/>
          </a:p>
          <a:p>
            <a:pPr marL="182562" lvl="1" indent="0">
              <a:buNone/>
            </a:pPr>
            <a:r>
              <a:rPr lang="fr-FR" dirty="0"/>
              <a:t>https://www.adafruit.com/product/1590</a:t>
            </a:r>
          </a:p>
        </p:txBody>
      </p:sp>
      <p:pic>
        <p:nvPicPr>
          <p:cNvPr id="10" name="Espace réservé du contenu 9" descr="Une image contenant texte, équipement électronique, circuit&#10;&#10;Description générée automatiquement">
            <a:extLst>
              <a:ext uri="{FF2B5EF4-FFF2-40B4-BE49-F238E27FC236}">
                <a16:creationId xmlns:a16="http://schemas.microsoft.com/office/drawing/2014/main" id="{7386C8EA-8694-40DF-BB08-41C1FB8C75E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5244" y="2489200"/>
            <a:ext cx="3657600" cy="2743200"/>
          </a:xfrm>
        </p:spPr>
      </p:pic>
    </p:spTree>
    <p:extLst>
      <p:ext uri="{BB962C8B-B14F-4D97-AF65-F5344CB8AC3E}">
        <p14:creationId xmlns:p14="http://schemas.microsoft.com/office/powerpoint/2010/main" val="174882494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D32FF117-E31E-4570-BD30-F9C1861192C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3575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Diapositive think-cell" r:id="rId5" imgW="281" imgH="281" progId="TCLayout.ActiveDocument.1">
                  <p:embed/>
                </p:oleObj>
              </mc:Choice>
              <mc:Fallback>
                <p:oleObj name="Diapositive think-cell" r:id="rId5" imgW="281" imgH="2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8ACB6B22-B181-45C9-9B73-8F605FB80DA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fr-FR" sz="2800" b="1" dirty="0" err="1">
              <a:solidFill>
                <a:schemeClr val="tx1"/>
              </a:solidFill>
              <a:latin typeface="Vitesco" panose="020B0504020202020204" pitchFamily="34" charset="0"/>
              <a:ea typeface="+mj-ea"/>
              <a:cs typeface="+mj-cs"/>
              <a:sym typeface="Vitesco" panose="020B0504020202020204" pitchFamily="34" charset="0"/>
            </a:endParaRPr>
          </a:p>
        </p:txBody>
      </p:sp>
      <p:pic>
        <p:nvPicPr>
          <p:cNvPr id="9" name="Espace réservé du contenu 8" descr="Une image contenant équipement électronique&#10;&#10;Description générée automatiquement">
            <a:extLst>
              <a:ext uri="{FF2B5EF4-FFF2-40B4-BE49-F238E27FC236}">
                <a16:creationId xmlns:a16="http://schemas.microsoft.com/office/drawing/2014/main" id="{64E2DE08-8DE1-40E1-9F98-5B1FADA27FA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1275" y="2500512"/>
            <a:ext cx="3665538" cy="2720576"/>
          </a:xfrm>
        </p:spPr>
      </p:pic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5EC4101B-FE5C-470B-B485-C8AE517872C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5C5000B6-5361-404D-B152-B7B5C50417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onnecteur DC</a:t>
            </a:r>
          </a:p>
        </p:txBody>
      </p:sp>
      <p:sp>
        <p:nvSpPr>
          <p:cNvPr id="5" name="Espace réservé du contenu 4">
            <a:extLst>
              <a:ext uri="{FF2B5EF4-FFF2-40B4-BE49-F238E27FC236}">
                <a16:creationId xmlns:a16="http://schemas.microsoft.com/office/drawing/2014/main" id="{7521ED38-2F54-4BB9-B337-C4D4A4836C05}"/>
              </a:ext>
            </a:extLst>
          </p:cNvPr>
          <p:cNvSpPr>
            <a:spLocks noGrp="1"/>
          </p:cNvSpPr>
          <p:nvPr>
            <p:ph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fr-FR" b="1" dirty="0"/>
              <a:t>Prise d'alimentation CC Angle droit 24,0 V 5.0A, 9.0mm, Montage panneau</a:t>
            </a:r>
          </a:p>
          <a:p>
            <a:pPr marL="0" indent="0">
              <a:buNone/>
            </a:pPr>
            <a:endParaRPr lang="fr-FR" dirty="0">
              <a:hlinkClick r:id="rId8"/>
            </a:endParaRPr>
          </a:p>
          <a:p>
            <a:pPr marL="0" indent="0">
              <a:buNone/>
            </a:pPr>
            <a:endParaRPr lang="fr-FR" dirty="0">
              <a:hlinkClick r:id="rId8"/>
            </a:endParaRPr>
          </a:p>
          <a:p>
            <a:pPr marL="0" indent="0">
              <a:buNone/>
            </a:pPr>
            <a:endParaRPr lang="fr-FR" dirty="0">
              <a:hlinkClick r:id="rId8"/>
            </a:endParaRPr>
          </a:p>
          <a:p>
            <a:pPr marL="176212" lvl="1" indent="0">
              <a:buNone/>
            </a:pPr>
            <a:r>
              <a:rPr lang="fr-FR" dirty="0">
                <a:hlinkClick r:id="rId8"/>
              </a:rPr>
              <a:t>https://fr.rs-online.com/web/p/connecteurs-d-alimentation-dc/1224879/</a:t>
            </a:r>
          </a:p>
          <a:p>
            <a:pPr marL="176212" lvl="1" indent="0">
              <a:buNone/>
            </a:pPr>
            <a:endParaRPr lang="fr-FR" dirty="0">
              <a:hlinkClick r:id="rId8"/>
            </a:endParaRPr>
          </a:p>
          <a:p>
            <a:pPr marL="176212" lvl="1" indent="0">
              <a:buNone/>
            </a:pPr>
            <a:r>
              <a:rPr lang="fr-FR" dirty="0">
                <a:hlinkClick r:id="rId8"/>
              </a:rPr>
              <a:t>https://www.we-online.com/catalog/en/DC_RIGHT_ANGLED_6_4_69410X301002</a:t>
            </a:r>
            <a:endParaRPr lang="fr-FR" dirty="0"/>
          </a:p>
          <a:p>
            <a:endParaRPr lang="fr-FR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98E907F-1309-4AAC-BDAD-68189B892CFA}"/>
              </a:ext>
            </a:extLst>
          </p:cNvPr>
          <p:cNvSpPr/>
          <p:nvPr/>
        </p:nvSpPr>
        <p:spPr>
          <a:xfrm>
            <a:off x="8639174" y="5754465"/>
            <a:ext cx="2085975" cy="914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b="1" dirty="0">
                <a:solidFill>
                  <a:schemeClr val="bg1"/>
                </a:solidFill>
              </a:rPr>
              <a:t>3D AVAILABLE </a:t>
            </a:r>
          </a:p>
        </p:txBody>
      </p:sp>
    </p:spTree>
    <p:extLst>
      <p:ext uri="{BB962C8B-B14F-4D97-AF65-F5344CB8AC3E}">
        <p14:creationId xmlns:p14="http://schemas.microsoft.com/office/powerpoint/2010/main" val="330695122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80CEFD9C-442B-43EE-B054-A9A95D9BE0C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22600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Diapositive think-cell" r:id="rId5" imgW="281" imgH="281" progId="TCLayout.ActiveDocument.1">
                  <p:embed/>
                </p:oleObj>
              </mc:Choice>
              <mc:Fallback>
                <p:oleObj name="Diapositive think-cell" r:id="rId5" imgW="281" imgH="2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72058668-977D-4CC6-A8CE-851497CD6AD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fr-FR" sz="2800" b="1" dirty="0" err="1">
              <a:solidFill>
                <a:schemeClr val="tx1"/>
              </a:solidFill>
              <a:latin typeface="Vitesco" panose="020B0504020202020204" pitchFamily="34" charset="0"/>
              <a:ea typeface="+mj-ea"/>
              <a:cs typeface="+mj-cs"/>
              <a:sym typeface="Vitesco" panose="020B0504020202020204" pitchFamily="34" charset="0"/>
            </a:endParaRP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EAFD3EF1-5D0B-4BD6-AE66-02018C5096E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D5A413DA-A88B-4AEC-AD2D-89D25A40DB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Interrupteur ON/OFF</a:t>
            </a:r>
          </a:p>
        </p:txBody>
      </p:sp>
      <p:sp>
        <p:nvSpPr>
          <p:cNvPr id="5" name="Espace réservé du contenu 4">
            <a:extLst>
              <a:ext uri="{FF2B5EF4-FFF2-40B4-BE49-F238E27FC236}">
                <a16:creationId xmlns:a16="http://schemas.microsoft.com/office/drawing/2014/main" id="{9025D0E3-54F1-439A-A5C9-95968C1B067F}"/>
              </a:ext>
            </a:extLst>
          </p:cNvPr>
          <p:cNvSpPr>
            <a:spLocks noGrp="1"/>
          </p:cNvSpPr>
          <p:nvPr>
            <p:ph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fr-FR" b="1" dirty="0"/>
              <a:t>Commutateur à glissière, Unipolaire à deux directions (1RT), Verrouillable, 3 A @ 250 V </a:t>
            </a:r>
            <a:r>
              <a:rPr lang="fr-FR" b="1" dirty="0" err="1"/>
              <a:t>c.a</a:t>
            </a:r>
            <a:r>
              <a:rPr lang="fr-FR" b="1" dirty="0"/>
              <a:t>, 6 A @ 125 V </a:t>
            </a:r>
            <a:r>
              <a:rPr lang="fr-FR" b="1" dirty="0" err="1"/>
              <a:t>c.a</a:t>
            </a:r>
            <a:r>
              <a:rPr lang="fr-FR" b="1" dirty="0"/>
              <a:t>, </a:t>
            </a:r>
            <a:r>
              <a:rPr lang="fr-FR" b="1" dirty="0" err="1"/>
              <a:t>Etrier</a:t>
            </a:r>
            <a:r>
              <a:rPr lang="fr-FR" b="1" dirty="0"/>
              <a:t> de</a:t>
            </a:r>
          </a:p>
          <a:p>
            <a:pPr marL="0" indent="0">
              <a:buNone/>
            </a:pPr>
            <a:endParaRPr lang="fr-FR" b="1" dirty="0"/>
          </a:p>
          <a:p>
            <a:pPr marL="0" indent="0">
              <a:buNone/>
            </a:pPr>
            <a:r>
              <a:rPr lang="fr-FR" dirty="0">
                <a:hlinkClick r:id="rId7"/>
              </a:rPr>
              <a:t>https://fr.rs-online.com/web/p/interrupteurs-a-glissiere/1251854/</a:t>
            </a:r>
            <a:r>
              <a:rPr lang="fr-FR" dirty="0"/>
              <a:t> </a:t>
            </a:r>
          </a:p>
          <a:p>
            <a:pPr marL="0" indent="0">
              <a:buNone/>
            </a:pPr>
            <a:endParaRPr lang="fr-FR" dirty="0"/>
          </a:p>
          <a:p>
            <a:pPr marL="0" indent="0">
              <a:buNone/>
            </a:pPr>
            <a:r>
              <a:rPr lang="fr-FR" dirty="0">
                <a:hlinkClick r:id="rId8"/>
              </a:rPr>
              <a:t>https://www.nkkswitches.eu/products/Slides/Slides%20MS/MS12ASW30/</a:t>
            </a:r>
            <a:r>
              <a:rPr lang="fr-FR" dirty="0"/>
              <a:t> </a:t>
            </a:r>
          </a:p>
          <a:p>
            <a:endParaRPr lang="fr-FR" dirty="0"/>
          </a:p>
        </p:txBody>
      </p:sp>
      <p:pic>
        <p:nvPicPr>
          <p:cNvPr id="4098" name="Picture 2">
            <a:extLst>
              <a:ext uri="{FF2B5EF4-FFF2-40B4-BE49-F238E27FC236}">
                <a16:creationId xmlns:a16="http://schemas.microsoft.com/office/drawing/2014/main" id="{9EB03C84-8CE6-422D-82AA-594E5FA7B0D8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5506" y="1592263"/>
            <a:ext cx="4537075" cy="4537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52F2B14A-9EEB-4933-B711-735D6F2013C5}"/>
              </a:ext>
            </a:extLst>
          </p:cNvPr>
          <p:cNvSpPr/>
          <p:nvPr/>
        </p:nvSpPr>
        <p:spPr>
          <a:xfrm>
            <a:off x="8639174" y="5754465"/>
            <a:ext cx="2085975" cy="914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b="1" dirty="0">
                <a:solidFill>
                  <a:schemeClr val="bg1"/>
                </a:solidFill>
              </a:rPr>
              <a:t>3D AVAILABLE </a:t>
            </a:r>
          </a:p>
        </p:txBody>
      </p:sp>
    </p:spTree>
    <p:extLst>
      <p:ext uri="{BB962C8B-B14F-4D97-AF65-F5344CB8AC3E}">
        <p14:creationId xmlns:p14="http://schemas.microsoft.com/office/powerpoint/2010/main" val="182481453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381836F9-14ED-4631-B361-67EAFDBE86A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" name="Diapositive think-cell" r:id="rId5" imgW="425" imgH="426" progId="TCLayout.ActiveDocument.1">
                  <p:embed/>
                </p:oleObj>
              </mc:Choice>
              <mc:Fallback>
                <p:oleObj name="Diapositive think-cell" r:id="rId5" imgW="425" imgH="426" progId="TCLayout.ActiveDocument.1">
                  <p:embed/>
                  <p:pic>
                    <p:nvPicPr>
                      <p:cNvPr id="6" name="Objet 5" hidden="1">
                        <a:extLst>
                          <a:ext uri="{FF2B5EF4-FFF2-40B4-BE49-F238E27FC236}">
                            <a16:creationId xmlns:a16="http://schemas.microsoft.com/office/drawing/2014/main" id="{381836F9-14ED-4631-B361-67EAFDBE86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D54F893-5594-4AF1-82A3-6A564422C40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fr-FR" sz="2800" b="1" dirty="0" err="1">
              <a:solidFill>
                <a:schemeClr val="tx1"/>
              </a:solidFill>
              <a:latin typeface="Vitesco" panose="020B0504020202020204" pitchFamily="34" charset="0"/>
              <a:ea typeface="+mj-ea"/>
              <a:cs typeface="+mj-cs"/>
              <a:sym typeface="Vitesco" panose="020B0504020202020204" pitchFamily="34" charset="0"/>
            </a:endParaRP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A0B4F2E7-4479-47BA-B6F1-2CBE7FA9F43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b="1" dirty="0"/>
              <a:t>Micro module industriel - ECP3 - Dual DDR2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59D90555-9244-4600-A25C-5980CB28A0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odule </a:t>
            </a:r>
            <a:r>
              <a:rPr lang="fr-FR" dirty="0" err="1"/>
              <a:t>lattice</a:t>
            </a:r>
            <a:r>
              <a:rPr lang="fr-FR" dirty="0"/>
              <a:t> </a:t>
            </a:r>
            <a:r>
              <a:rPr lang="fr-FR" dirty="0" err="1"/>
              <a:t>tachyssema</a:t>
            </a:r>
            <a:endParaRPr lang="fr-FR" dirty="0"/>
          </a:p>
        </p:txBody>
      </p:sp>
      <p:graphicFrame>
        <p:nvGraphicFramePr>
          <p:cNvPr id="11" name="Tableau 11">
            <a:extLst>
              <a:ext uri="{FF2B5EF4-FFF2-40B4-BE49-F238E27FC236}">
                <a16:creationId xmlns:a16="http://schemas.microsoft.com/office/drawing/2014/main" id="{DD372919-D6EA-4CCB-B7DF-E7F44D06E413}"/>
              </a:ext>
            </a:extLst>
          </p:cNvPr>
          <p:cNvGraphicFramePr>
            <a:graphicFrameLocks noGrp="1"/>
          </p:cNvGraphicFramePr>
          <p:nvPr>
            <p:ph idx="16"/>
          </p:nvPr>
        </p:nvGraphicFramePr>
        <p:xfrm>
          <a:off x="6032107" y="1044347"/>
          <a:ext cx="5545136" cy="3834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72568">
                  <a:extLst>
                    <a:ext uri="{9D8B030D-6E8A-4147-A177-3AD203B41FA5}">
                      <a16:colId xmlns:a16="http://schemas.microsoft.com/office/drawing/2014/main" val="2630862572"/>
                    </a:ext>
                  </a:extLst>
                </a:gridCol>
                <a:gridCol w="2772568">
                  <a:extLst>
                    <a:ext uri="{9D8B030D-6E8A-4147-A177-3AD203B41FA5}">
                      <a16:colId xmlns:a16="http://schemas.microsoft.com/office/drawing/2014/main" val="168111974"/>
                    </a:ext>
                  </a:extLst>
                </a:gridCol>
              </a:tblGrid>
              <a:tr h="360000">
                <a:tc gridSpan="2">
                  <a:txBody>
                    <a:bodyPr/>
                    <a:lstStyle/>
                    <a:p>
                      <a:pPr algn="ctr"/>
                      <a:r>
                        <a:rPr lang="fr-FR" sz="140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HV3 Module</a:t>
                      </a: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fr-FR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2082245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fr-FR" sz="1200" b="1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FPGA package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2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pBGA</a:t>
                      </a:r>
                      <a:r>
                        <a:rPr lang="fr-FR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672</a:t>
                      </a:r>
                      <a:endParaRPr lang="fr-FR" sz="12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6382630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fr-FR" sz="1200" b="1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ECP3 </a:t>
                      </a:r>
                      <a:r>
                        <a:rPr lang="fr-FR" sz="1200" b="1" dirty="0" err="1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density</a:t>
                      </a:r>
                      <a:endParaRPr lang="fr-FR" sz="1200" b="1" dirty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sv-SE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0 / 95 / 150 (Klut 67/92/149)</a:t>
                      </a:r>
                      <a:endParaRPr lang="fr-FR" sz="12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384415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fr-FR" sz="1200" b="1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DDR2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 x 1Gb @ 400MHz</a:t>
                      </a:r>
                      <a:endParaRPr lang="fr-FR" sz="12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804781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fr-FR" sz="1200" b="1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CFI user flash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12Mb to 1Gb</a:t>
                      </a:r>
                      <a:endParaRPr lang="fr-FR" sz="12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103705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fr-FR" sz="1200" b="1" dirty="0" err="1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External</a:t>
                      </a:r>
                      <a:r>
                        <a:rPr lang="fr-FR" sz="1200" b="1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 I/Os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2</a:t>
                      </a:r>
                      <a:endParaRPr lang="fr-FR" sz="12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2800509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fr-FR" sz="1200" b="1" kern="1200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igh speed links</a:t>
                      </a:r>
                      <a:endParaRPr lang="fr-FR" sz="1200" b="1" dirty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x8 SERDES @3.125Gb/s</a:t>
                      </a:r>
                      <a:endParaRPr lang="fr-FR" sz="12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3027794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fr-FR" sz="1200" b="1" kern="1200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figuration</a:t>
                      </a:r>
                      <a:endParaRPr lang="fr-FR" sz="1200" b="1" dirty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2Mb / 64Mb SPI</a:t>
                      </a:r>
                      <a:endParaRPr lang="fr-FR" sz="12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598139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fr-FR" sz="1200" b="1" kern="1200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8 x18 </a:t>
                      </a:r>
                      <a:r>
                        <a:rPr lang="fr-FR" sz="1200" b="1" kern="1200" dirty="0" err="1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ultipliers</a:t>
                      </a:r>
                      <a:endParaRPr lang="fr-FR" sz="1200" b="1" dirty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8 / 128 / 320</a:t>
                      </a:r>
                      <a:endParaRPr lang="fr-FR" sz="12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081424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fr-FR" sz="1200" b="1" kern="1200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imensions (mm)</a:t>
                      </a:r>
                      <a:endParaRPr lang="fr-FR" sz="1200" b="1" dirty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9 x 62 mm</a:t>
                      </a:r>
                      <a:endParaRPr lang="fr-FR" sz="12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390173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fr-FR" sz="1200" b="1" kern="1200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ICO 32</a:t>
                      </a:r>
                      <a:endParaRPr lang="fr-FR" sz="1200" b="1" dirty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ptionally embedded in the device as softcore license free IP</a:t>
                      </a:r>
                      <a:endParaRPr lang="fr-FR" sz="12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7500677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l-GR" sz="1200" b="1" kern="1200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μ</a:t>
                      </a:r>
                      <a:r>
                        <a:rPr lang="fr-FR" sz="1200" b="1" kern="1200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-Linux</a:t>
                      </a:r>
                      <a:endParaRPr lang="fr-FR" sz="1200" b="1" dirty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ptionally embedded in CFI flash</a:t>
                      </a:r>
                      <a:endParaRPr lang="fr-FR" sz="12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415441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fr-FR" sz="1200" b="1" kern="1200" dirty="0" err="1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upply</a:t>
                      </a:r>
                      <a:r>
                        <a:rPr lang="fr-FR" sz="1200" b="1" kern="1200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voltage</a:t>
                      </a:r>
                      <a:endParaRPr lang="fr-FR" sz="1200" b="1" dirty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ngle 3.3V</a:t>
                      </a:r>
                      <a:endParaRPr lang="fr-FR" sz="12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71507592"/>
                  </a:ext>
                </a:extLst>
              </a:tr>
            </a:tbl>
          </a:graphicData>
        </a:graphic>
      </p:graphicFrame>
      <p:pic>
        <p:nvPicPr>
          <p:cNvPr id="10" name="Espace réservé du contenu 9">
            <a:extLst>
              <a:ext uri="{FF2B5EF4-FFF2-40B4-BE49-F238E27FC236}">
                <a16:creationId xmlns:a16="http://schemas.microsoft.com/office/drawing/2014/main" id="{BE5B55C0-6490-4F3A-91FB-E3B160F9220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7"/>
          <a:stretch>
            <a:fillRect/>
          </a:stretch>
        </p:blipFill>
        <p:spPr>
          <a:xfrm>
            <a:off x="1678731" y="2473933"/>
            <a:ext cx="2930625" cy="27737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63644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wl8KD8WevQ7vt0CxDfsM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mUWslHghDHam1zWtBfO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mUWslHghDHam1zWtBfO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5jP8ScjUmcj1X9q5JQr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ylEpI5JMQam21Z5HIc2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evDulTRU1BRtwXh8nas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7UMlsUjoFXt1HSlthuas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ZwgdcwWou7dqsqfhY7b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1Q52MbwvCvOVM47IZ2P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wl8KD8WevQ7vt0CxDfsM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Vitesco">
  <a:themeElements>
    <a:clrScheme name="_Vitesco neu">
      <a:dk1>
        <a:srgbClr val="4A4944"/>
      </a:dk1>
      <a:lt1>
        <a:sysClr val="window" lastClr="FFFFFF"/>
      </a:lt1>
      <a:dk2>
        <a:srgbClr val="4A4944"/>
      </a:dk2>
      <a:lt2>
        <a:srgbClr val="F2E500"/>
      </a:lt2>
      <a:accent1>
        <a:srgbClr val="D4004A"/>
      </a:accent1>
      <a:accent2>
        <a:srgbClr val="B4C832"/>
      </a:accent2>
      <a:accent3>
        <a:srgbClr val="64AF5A"/>
      </a:accent3>
      <a:accent4>
        <a:srgbClr val="3CB4A5"/>
      </a:accent4>
      <a:accent5>
        <a:srgbClr val="008269"/>
      </a:accent5>
      <a:accent6>
        <a:srgbClr val="005546"/>
      </a:accent6>
      <a:hlink>
        <a:srgbClr val="4A4944"/>
      </a:hlink>
      <a:folHlink>
        <a:srgbClr val="4A4944"/>
      </a:folHlink>
    </a:clrScheme>
    <a:fontScheme name="Benutzerdefiniert 153">
      <a:majorFont>
        <a:latin typeface="Vitesco"/>
        <a:ea typeface=""/>
        <a:cs typeface=""/>
      </a:majorFont>
      <a:minorFont>
        <a:latin typeface="Vitesc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algn="l">
          <a:defRPr sz="1400" dirty="0" err="1" smtClean="0"/>
        </a:defPPr>
      </a:lstStyle>
    </a:txDef>
  </a:objectDefaults>
  <a:extraClrSchemeLst/>
  <a:custClrLst>
    <a:custClr name="Tertiär1">
      <a:srgbClr val="00A5E6"/>
    </a:custClr>
    <a:custClr name="Tertiär2">
      <a:srgbClr val="006EAA"/>
    </a:custClr>
    <a:custClr name="Tertiär3">
      <a:srgbClr val="005082"/>
    </a:custClr>
    <a:custClr name="Tertiär4">
      <a:srgbClr val="DC5F96"/>
    </a:custClr>
    <a:custClr name="Tertiär5">
      <a:srgbClr val="7D0F5F"/>
    </a:custClr>
    <a:custClr name="Brand Grey 100%">
      <a:srgbClr val="4A4944"/>
    </a:custClr>
    <a:custClr name="Brand Grey 70%">
      <a:srgbClr val="807F7C"/>
    </a:custClr>
    <a:custClr name="Brand Grey 50%">
      <a:srgbClr val="A4A4A1"/>
    </a:custClr>
    <a:custClr name="Brand Grey 30%">
      <a:srgbClr val="C8C8C6"/>
    </a:custClr>
    <a:custClr name="Brand Grey 15%">
      <a:srgbClr val="E4E4E3"/>
    </a:custClr>
    <a:custClr name="Ampelfarbe1">
      <a:srgbClr val="DC230F"/>
    </a:custClr>
    <a:custClr name="Ampelfarbe2">
      <a:srgbClr val="FFC300"/>
    </a:custClr>
    <a:custClr name="Ampelfarbe3">
      <a:srgbClr val="64AF59"/>
    </a:custClr>
  </a:custClrLst>
  <a:extLst>
    <a:ext uri="{05A4C25C-085E-4340-85A3-A5531E510DB2}">
      <thm15:themeFamily xmlns:thm15="http://schemas.microsoft.com/office/thememl/2012/main" name="Vitesco" id="{8CFDD018-1F62-45B6-9047-F61AA96CE09E}" vid="{CCAAE21C-71A6-42EA-8C4A-0FB1DB4EEB3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2BE18627A709541810338E01DF18ED8" ma:contentTypeVersion="13" ma:contentTypeDescription="Create a new document." ma:contentTypeScope="" ma:versionID="6f87765f028ae768125b6a93918cda0e">
  <xsd:schema xmlns:xsd="http://www.w3.org/2001/XMLSchema" xmlns:xs="http://www.w3.org/2001/XMLSchema" xmlns:p="http://schemas.microsoft.com/office/2006/metadata/properties" xmlns:ns3="30990c54-d953-498a-88eb-47508cbabf51" xmlns:ns4="5459c1e5-ea4c-4ff0-83ae-5b1438974e3b" targetNamespace="http://schemas.microsoft.com/office/2006/metadata/properties" ma:root="true" ma:fieldsID="315afa8a6763a42aaca31b82e431c531" ns3:_="" ns4:_="">
    <xsd:import namespace="30990c54-d953-498a-88eb-47508cbabf51"/>
    <xsd:import namespace="5459c1e5-ea4c-4ff0-83ae-5b1438974e3b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GenerationTime" minOccurs="0"/>
                <xsd:element ref="ns4:MediaServiceEventHashCode" minOccurs="0"/>
                <xsd:element ref="ns4:MediaServiceOCR" minOccurs="0"/>
                <xsd:element ref="ns4:MediaServiceDateTaken" minOccurs="0"/>
                <xsd:element ref="ns4:MediaServiceLocation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0990c54-d953-498a-88eb-47508cbabf5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459c1e5-ea4c-4ff0-83ae-5b1438974e3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DDBF593A-2C83-478A-B677-CCB682A7345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0990c54-d953-498a-88eb-47508cbabf51"/>
    <ds:schemaRef ds:uri="5459c1e5-ea4c-4ff0-83ae-5b1438974e3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057C390-4223-456E-8077-BFF25693858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A961832-ADCA-49B8-9B76-BC4EB530F1D8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0</TotalTime>
  <Words>481</Words>
  <Application>Microsoft Office PowerPoint</Application>
  <PresentationFormat>Grand écran</PresentationFormat>
  <Paragraphs>93</Paragraphs>
  <Slides>10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2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0</vt:i4>
      </vt:variant>
    </vt:vector>
  </HeadingPairs>
  <TitlesOfParts>
    <vt:vector size="14" baseType="lpstr">
      <vt:lpstr>Arial</vt:lpstr>
      <vt:lpstr>Vitesco</vt:lpstr>
      <vt:lpstr>Vitesco</vt:lpstr>
      <vt:lpstr>Diapositive think-cell</vt:lpstr>
      <vt:lpstr>Statut HW CW44</vt:lpstr>
      <vt:lpstr>PCB</vt:lpstr>
      <vt:lpstr>Connecteur HDMI</vt:lpstr>
      <vt:lpstr>Connecteur BNC</vt:lpstr>
      <vt:lpstr>Ecran tactile</vt:lpstr>
      <vt:lpstr>Ecran tactile</vt:lpstr>
      <vt:lpstr>Connecteur DC</vt:lpstr>
      <vt:lpstr>Interrupteur ON/OFF</vt:lpstr>
      <vt:lpstr>Module lattice tachyssema</vt:lpstr>
      <vt:lpstr>Carte MCU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Messaoudi, Damien (uid34375)</dc:creator>
  <cp:lastModifiedBy>Messaoudi, Damien (uid34375)</cp:lastModifiedBy>
  <cp:revision>2</cp:revision>
  <dcterms:created xsi:type="dcterms:W3CDTF">2020-11-01T10:42:20Z</dcterms:created>
  <dcterms:modified xsi:type="dcterms:W3CDTF">2020-11-01T22:16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2BE18627A709541810338E01DF18ED8</vt:lpwstr>
  </property>
</Properties>
</file>